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5"/>
    <p:sldMasterId id="2147483808" r:id="rId6"/>
    <p:sldMasterId id="2147483839" r:id="rId7"/>
    <p:sldMasterId id="2147483883" r:id="rId8"/>
  </p:sldMasterIdLst>
  <p:notesMasterIdLst>
    <p:notesMasterId r:id="rId14"/>
  </p:notesMasterIdLst>
  <p:sldIdLst>
    <p:sldId id="2147483325" r:id="rId9"/>
    <p:sldId id="2147483453" r:id="rId10"/>
    <p:sldId id="2147483454" r:id="rId11"/>
    <p:sldId id="2147483455" r:id="rId12"/>
    <p:sldId id="2147483377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333500A-E1B4-9CEB-8B95-40324525A91D}" name="Botshelo Phoku   Transnet Freight Rail   Rustenburg" initials="" userId="S::Botshelo.Phoku@transnet.net::51277f47-fdb6-4d11-8ac1-09cf9b8bf548" providerId="AD"/>
  <p188:author id="{4FA46E1A-70C5-55E4-40AD-2DF2A26E3B1F}" name="Sibusiso Ndlazi       Transnet Freight Rail JHB" initials="" userId="S::Sibusiso.Ndlazi@transnet.net::97f72c83-50b3-4dcd-86ee-433e6d44c910" providerId="AD"/>
  <p188:author id="{6D46AD28-187B-3D20-1AD0-DC1B4E3EE223}" name="Poelo Peba      Transnet Freight Rail     JHB" initials="PJ" userId="S::poelo.peba@transnet.net::1cfa94e3-7d59-436f-b9c2-a27a8a0bc8ad" providerId="AD"/>
  <p188:author id="{01C49248-6E3B-F9A9-746E-E16EF1994B77}" name="Mpho Maluleka   Transnet Freight Rail   Johannesburg" initials="MM" userId="S::Mpho.Maluleka@transnet.net::c06ea1db-845e-41ae-abb7-5081359f0c14" providerId="AD"/>
  <p188:author id="{A06E6069-21F7-2469-4D16-9768EBEDB031}" name="Poelo Peba      Transnet Freight Rail     JHB" initials="" userId="S::Poelo.Peba@transnet.net::1cfa94e3-7d59-436f-b9c2-a27a8a0bc8ad" providerId="AD"/>
  <p188:author id="{CF0EC986-0091-49B1-3938-9A3AB56D31E3}" name="Takalani Sinugo   Transnet Freight Rail   JHB" initials="" userId="S::Takalani.Sinugo@transnet.net::28d11a94-8dbf-430f-aef0-805b7f7ebf95" providerId="AD"/>
  <p188:author id="{249F87A3-C95A-5B95-77DE-AF610FACE01E}" name="Phiona Skefu          Transnet Freight Rail   JHB" initials="PS" userId="S::Phiona.Skefu@transnet.net::9cea3183-0996-4715-b5e1-aa86d1d91064" providerId="AD"/>
  <p188:author id="{4F60A2BA-ACBA-6FB4-E0D8-9428655DFEF0}" name="Thato Sebalane   Transnet Corporate Centre   Johannesburg" initials="TS" userId="S::Thato.Sebalane@transnet.net::f51039d3-b62a-4cdb-a601-f6bb783b295a" providerId="AD"/>
  <p188:author id="{C919E7CC-1A78-6ECF-23FE-E8BEBD9365F3}" name="Lerothodi Moramang     Transnet Freight Rail    JHB" initials="" userId="S::Lerothodi.Moramang@transnet.net::a203532f-5361-4782-9678-48681cad76b0" providerId="AD"/>
  <p188:author id="{12B1FFD0-9C62-06E1-AEB3-4D234C929AF4}" name="Deon Velthuysen   Transnet Freight Rail   Johannesburg" initials="DJ" userId="S::deon.velthuysen@transnet.net::d10d2b59-8687-4605-8ce5-3dbdf7a4f5ce" providerId="AD"/>
  <p188:author id="{BCBB8BD6-E6CE-4BBC-5C98-A4B93A390076}" name="Deon Velthuysen   Transnet Freight Rail   Johannesburg" initials="" userId="S::Deon.Velthuysen@transnet.net::d10d2b59-8687-4605-8ce5-3dbdf7a4f5ce" providerId="AD"/>
  <p188:author id="{D5BEF9EA-456F-B4D9-6EF7-B34080D37416}" name="Botshelo Phoku   Transnet Freight Rail   Rustenburg" initials="BR" userId="S::botshelo.phoku@transnet.net::51277f47-fdb6-4d11-8ac1-09cf9b8bf54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A59E"/>
    <a:srgbClr val="66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9542" autoAdjust="0"/>
  </p:normalViewPr>
  <p:slideViewPr>
    <p:cSldViewPr snapToGrid="0">
      <p:cViewPr varScale="1">
        <p:scale>
          <a:sx n="74" d="100"/>
          <a:sy n="74" d="100"/>
        </p:scale>
        <p:origin x="1013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59822B-E948-458E-ADE4-9EF797D08F61}" type="datetimeFigureOut">
              <a:rPr lang="en-ZA" smtClean="0"/>
              <a:t>2025/12/11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602CBD-F92D-4139-90F1-11816927E03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481444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602CBD-F92D-4139-90F1-11816927E036}" type="slidenum">
              <a:rPr lang="en-ZA" smtClean="0"/>
              <a:t>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61907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jpe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jpe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jpe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6" Type="http://schemas.openxmlformats.org/officeDocument/2006/relationships/image" Target="../media/image2.jpe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6" Type="http://schemas.openxmlformats.org/officeDocument/2006/relationships/image" Target="../media/image2.jpe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6" Type="http://schemas.openxmlformats.org/officeDocument/2006/relationships/image" Target="../media/image2.jpe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9602014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CONTENTS SLIDE</a:t>
            </a:r>
            <a:endParaRPr lang="en-ZA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EDA1C25F-7D43-4095-A0B8-45700D5B151C}"/>
              </a:ext>
            </a:extLst>
          </p:cNvPr>
          <p:cNvSpPr/>
          <p:nvPr userDrawn="1"/>
        </p:nvSpPr>
        <p:spPr>
          <a:xfrm>
            <a:off x="8499929" y="4854262"/>
            <a:ext cx="3250324" cy="16944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332918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40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800"/>
              <a:t>Normal text here and here and here and here</a:t>
            </a:r>
            <a:endParaRPr lang="en-GB" sz="2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2875A8-5858-41C5-9133-0B72927E38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46762" y="16185"/>
            <a:ext cx="1148040" cy="1151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965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2818321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0BD579-4CC2-EDC1-6F2E-4E4E271189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9" y="260005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5938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 descr="A desk with technical drawings, pencil and tools">
            <a:extLst>
              <a:ext uri="{FF2B5EF4-FFF2-40B4-BE49-F238E27FC236}">
                <a16:creationId xmlns:a16="http://schemas.microsoft.com/office/drawing/2014/main" id="{34BADCB9-88FF-853F-7CB9-967EA4291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34063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3065187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9174117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>
            <a:extLst>
              <a:ext uri="{FF2B5EF4-FFF2-40B4-BE49-F238E27FC236}">
                <a16:creationId xmlns:a16="http://schemas.microsoft.com/office/drawing/2014/main" id="{34BADCB9-88FF-853F-7CB9-967EA4291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A86DB4-8A0E-5852-A8CA-D1F0D4A0FEF2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2">
              <a:alpha val="16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34063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3065187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8072467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15" descr="Aerial view of container ship">
            <a:extLst>
              <a:ext uri="{FF2B5EF4-FFF2-40B4-BE49-F238E27FC236}">
                <a16:creationId xmlns:a16="http://schemas.microsoft.com/office/drawing/2014/main" id="{7B4597E5-7462-D917-B3FC-691CFD46CE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34063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2818321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4066813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15">
            <a:extLst>
              <a:ext uri="{FF2B5EF4-FFF2-40B4-BE49-F238E27FC236}">
                <a16:creationId xmlns:a16="http://schemas.microsoft.com/office/drawing/2014/main" id="{7B4597E5-7462-D917-B3FC-691CFD46CE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7896" y="3390792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077D36-9B62-FD3B-4F96-ED9C71D7A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07809"/>
            <a:ext cx="5741486" cy="134063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2851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3419BA2B-CD57-53EE-397D-95B77E2910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7896" y="3429000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323907A-9933-E4B0-2CF7-72CC82888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34063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5596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3419BA2B-CD57-53EE-397D-95B77E2910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8507" y="3308789"/>
            <a:ext cx="5099774" cy="416984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here and here and here</a:t>
            </a:r>
            <a:endParaRPr lang="en-GB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B194933-7819-E06D-72CA-3D249A06F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07809"/>
            <a:ext cx="5741486" cy="134063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6683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EE5FA182-F7DE-7FF9-AF9F-6B97D1F061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2818321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7313586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EE5FA182-F7DE-7FF9-AF9F-6B97D1F06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A525C38-6FFD-DE61-F2F9-A74DA63DDA63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2">
              <a:alpha val="2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2532" y="1559081"/>
            <a:ext cx="4205747" cy="101745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2818321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8833532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C3784C0-AEDF-10DD-4608-3BD04462041C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6933" y="1559081"/>
            <a:ext cx="4561347" cy="101745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2818321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  <p:sp>
        <p:nvSpPr>
          <p:cNvPr id="3" name="Graphic 4">
            <a:extLst>
              <a:ext uri="{FF2B5EF4-FFF2-40B4-BE49-F238E27FC236}">
                <a16:creationId xmlns:a16="http://schemas.microsoft.com/office/drawing/2014/main" id="{D1BD1A9C-0B6C-5E16-67BF-F46E6D548358}"/>
              </a:ext>
            </a:extLst>
          </p:cNvPr>
          <p:cNvSpPr/>
          <p:nvPr userDrawn="1"/>
        </p:nvSpPr>
        <p:spPr>
          <a:xfrm>
            <a:off x="629600" y="913946"/>
            <a:ext cx="9089796" cy="5365238"/>
          </a:xfrm>
          <a:custGeom>
            <a:avLst/>
            <a:gdLst>
              <a:gd name="connsiteX0" fmla="*/ 2718340 w 6829615"/>
              <a:gd name="connsiteY0" fmla="*/ 4031171 h 4031170"/>
              <a:gd name="connsiteX1" fmla="*/ 2288381 w 6829615"/>
              <a:gd name="connsiteY1" fmla="*/ 4028504 h 4031170"/>
              <a:gd name="connsiteX2" fmla="*/ 1978724 w 6829615"/>
              <a:gd name="connsiteY2" fmla="*/ 3663887 h 4031170"/>
              <a:gd name="connsiteX3" fmla="*/ 1978724 w 6829615"/>
              <a:gd name="connsiteY3" fmla="*/ 3314129 h 4031170"/>
              <a:gd name="connsiteX4" fmla="*/ 1742980 w 6829615"/>
              <a:gd name="connsiteY4" fmla="*/ 2885599 h 4031170"/>
              <a:gd name="connsiteX5" fmla="*/ 1743742 w 6829615"/>
              <a:gd name="connsiteY5" fmla="*/ 2627662 h 4031170"/>
              <a:gd name="connsiteX6" fmla="*/ 1603534 w 6829615"/>
              <a:gd name="connsiteY6" fmla="*/ 2383631 h 4031170"/>
              <a:gd name="connsiteX7" fmla="*/ 1603534 w 6829615"/>
              <a:gd name="connsiteY7" fmla="*/ 1988344 h 4031170"/>
              <a:gd name="connsiteX8" fmla="*/ 1563624 w 6829615"/>
              <a:gd name="connsiteY8" fmla="*/ 1916906 h 4031170"/>
              <a:gd name="connsiteX9" fmla="*/ 1009840 w 6829615"/>
              <a:gd name="connsiteY9" fmla="*/ 1916906 h 4031170"/>
              <a:gd name="connsiteX10" fmla="*/ 947833 w 6829615"/>
              <a:gd name="connsiteY10" fmla="*/ 2024443 h 4031170"/>
              <a:gd name="connsiteX11" fmla="*/ 351282 w 6829615"/>
              <a:gd name="connsiteY11" fmla="*/ 2024443 h 4031170"/>
              <a:gd name="connsiteX12" fmla="*/ 0 w 6829615"/>
              <a:gd name="connsiteY12" fmla="*/ 1478661 h 4031170"/>
              <a:gd name="connsiteX13" fmla="*/ 0 w 6829615"/>
              <a:gd name="connsiteY13" fmla="*/ 860965 h 4031170"/>
              <a:gd name="connsiteX14" fmla="*/ 512636 w 6829615"/>
              <a:gd name="connsiteY14" fmla="*/ 0 h 4031170"/>
              <a:gd name="connsiteX15" fmla="*/ 1361408 w 6829615"/>
              <a:gd name="connsiteY15" fmla="*/ 0 h 4031170"/>
              <a:gd name="connsiteX16" fmla="*/ 1537526 w 6829615"/>
              <a:gd name="connsiteY16" fmla="*/ 290417 h 4031170"/>
              <a:gd name="connsiteX17" fmla="*/ 1638967 w 6829615"/>
              <a:gd name="connsiteY17" fmla="*/ 289751 h 4031170"/>
              <a:gd name="connsiteX18" fmla="*/ 1798130 w 6829615"/>
              <a:gd name="connsiteY18" fmla="*/ 0 h 4031170"/>
              <a:gd name="connsiteX19" fmla="*/ 6829616 w 6829615"/>
              <a:gd name="connsiteY19" fmla="*/ 0 h 4031170"/>
              <a:gd name="connsiteX20" fmla="*/ 6829616 w 6829615"/>
              <a:gd name="connsiteY20" fmla="*/ 161925 h 4031170"/>
              <a:gd name="connsiteX21" fmla="*/ 1893951 w 6829615"/>
              <a:gd name="connsiteY21" fmla="*/ 161925 h 4031170"/>
              <a:gd name="connsiteX22" fmla="*/ 1735169 w 6829615"/>
              <a:gd name="connsiteY22" fmla="*/ 451104 h 4031170"/>
              <a:gd name="connsiteX23" fmla="*/ 1446752 w 6829615"/>
              <a:gd name="connsiteY23" fmla="*/ 452914 h 4031170"/>
              <a:gd name="connsiteX24" fmla="*/ 1270254 w 6829615"/>
              <a:gd name="connsiteY24" fmla="*/ 161925 h 4031170"/>
              <a:gd name="connsiteX25" fmla="*/ 604647 w 6829615"/>
              <a:gd name="connsiteY25" fmla="*/ 161925 h 4031170"/>
              <a:gd name="connsiteX26" fmla="*/ 161925 w 6829615"/>
              <a:gd name="connsiteY26" fmla="*/ 905447 h 4031170"/>
              <a:gd name="connsiteX27" fmla="*/ 161925 w 6829615"/>
              <a:gd name="connsiteY27" fmla="*/ 1431036 h 4031170"/>
              <a:gd name="connsiteX28" fmla="*/ 439674 w 6829615"/>
              <a:gd name="connsiteY28" fmla="*/ 1862518 h 4031170"/>
              <a:gd name="connsiteX29" fmla="*/ 854297 w 6829615"/>
              <a:gd name="connsiteY29" fmla="*/ 1862518 h 4031170"/>
              <a:gd name="connsiteX30" fmla="*/ 916305 w 6829615"/>
              <a:gd name="connsiteY30" fmla="*/ 1754981 h 4031170"/>
              <a:gd name="connsiteX31" fmla="*/ 1658684 w 6829615"/>
              <a:gd name="connsiteY31" fmla="*/ 1754981 h 4031170"/>
              <a:gd name="connsiteX32" fmla="*/ 1765459 w 6829615"/>
              <a:gd name="connsiteY32" fmla="*/ 1946148 h 4031170"/>
              <a:gd name="connsiteX33" fmla="*/ 1765459 w 6829615"/>
              <a:gd name="connsiteY33" fmla="*/ 2340388 h 4031170"/>
              <a:gd name="connsiteX34" fmla="*/ 1905762 w 6829615"/>
              <a:gd name="connsiteY34" fmla="*/ 2584704 h 4031170"/>
              <a:gd name="connsiteX35" fmla="*/ 1905000 w 6829615"/>
              <a:gd name="connsiteY35" fmla="*/ 2844260 h 4031170"/>
              <a:gd name="connsiteX36" fmla="*/ 2140649 w 6829615"/>
              <a:gd name="connsiteY36" fmla="*/ 3272504 h 4031170"/>
              <a:gd name="connsiteX37" fmla="*/ 2140649 w 6829615"/>
              <a:gd name="connsiteY37" fmla="*/ 3604451 h 4031170"/>
              <a:gd name="connsiteX38" fmla="*/ 2363724 w 6829615"/>
              <a:gd name="connsiteY38" fmla="*/ 3867055 h 4031170"/>
              <a:gd name="connsiteX39" fmla="*/ 2627090 w 6829615"/>
              <a:gd name="connsiteY39" fmla="*/ 3868674 h 4031170"/>
              <a:gd name="connsiteX40" fmla="*/ 2764250 w 6829615"/>
              <a:gd name="connsiteY40" fmla="*/ 3640646 h 4031170"/>
              <a:gd name="connsiteX41" fmla="*/ 2764250 w 6829615"/>
              <a:gd name="connsiteY41" fmla="*/ 3422047 h 4031170"/>
              <a:gd name="connsiteX42" fmla="*/ 3150203 w 6829615"/>
              <a:gd name="connsiteY42" fmla="*/ 2817019 h 4031170"/>
              <a:gd name="connsiteX43" fmla="*/ 3150203 w 6829615"/>
              <a:gd name="connsiteY43" fmla="*/ 2411444 h 4031170"/>
              <a:gd name="connsiteX44" fmla="*/ 3374231 w 6829615"/>
              <a:gd name="connsiteY44" fmla="*/ 2058067 h 4031170"/>
              <a:gd name="connsiteX45" fmla="*/ 3595973 w 6829615"/>
              <a:gd name="connsiteY45" fmla="*/ 2060448 h 4031170"/>
              <a:gd name="connsiteX46" fmla="*/ 3872960 w 6829615"/>
              <a:gd name="connsiteY46" fmla="*/ 1576007 h 4031170"/>
              <a:gd name="connsiteX47" fmla="*/ 3284982 w 6829615"/>
              <a:gd name="connsiteY47" fmla="*/ 1576007 h 4031170"/>
              <a:gd name="connsiteX48" fmla="*/ 3057049 w 6829615"/>
              <a:gd name="connsiteY48" fmla="*/ 1184529 h 4031170"/>
              <a:gd name="connsiteX49" fmla="*/ 3057525 w 6829615"/>
              <a:gd name="connsiteY49" fmla="*/ 867728 h 4031170"/>
              <a:gd name="connsiteX50" fmla="*/ 2748724 w 6829615"/>
              <a:gd name="connsiteY50" fmla="*/ 440912 h 4031170"/>
              <a:gd name="connsiteX51" fmla="*/ 2058638 w 6829615"/>
              <a:gd name="connsiteY51" fmla="*/ 440912 h 4031170"/>
              <a:gd name="connsiteX52" fmla="*/ 1873853 w 6829615"/>
              <a:gd name="connsiteY52" fmla="*/ 778097 h 4031170"/>
              <a:gd name="connsiteX53" fmla="*/ 1305116 w 6829615"/>
              <a:gd name="connsiteY53" fmla="*/ 778097 h 4031170"/>
              <a:gd name="connsiteX54" fmla="*/ 1102233 w 6829615"/>
              <a:gd name="connsiteY54" fmla="*/ 431387 h 4031170"/>
              <a:gd name="connsiteX55" fmla="*/ 739426 w 6829615"/>
              <a:gd name="connsiteY55" fmla="*/ 431387 h 4031170"/>
              <a:gd name="connsiteX56" fmla="*/ 421196 w 6829615"/>
              <a:gd name="connsiteY56" fmla="*/ 995077 h 4031170"/>
              <a:gd name="connsiteX57" fmla="*/ 428435 w 6829615"/>
              <a:gd name="connsiteY57" fmla="*/ 1339787 h 4031170"/>
              <a:gd name="connsiteX58" fmla="*/ 598075 w 6829615"/>
              <a:gd name="connsiteY58" fmla="*/ 1584389 h 4031170"/>
              <a:gd name="connsiteX59" fmla="*/ 720471 w 6829615"/>
              <a:gd name="connsiteY59" fmla="*/ 1584389 h 4031170"/>
              <a:gd name="connsiteX60" fmla="*/ 823817 w 6829615"/>
              <a:gd name="connsiteY60" fmla="*/ 1449229 h 4031170"/>
              <a:gd name="connsiteX61" fmla="*/ 1788795 w 6829615"/>
              <a:gd name="connsiteY61" fmla="*/ 1449229 h 4031170"/>
              <a:gd name="connsiteX62" fmla="*/ 2030825 w 6829615"/>
              <a:gd name="connsiteY62" fmla="*/ 1890046 h 4031170"/>
              <a:gd name="connsiteX63" fmla="*/ 2030825 w 6829615"/>
              <a:gd name="connsiteY63" fmla="*/ 2294763 h 4031170"/>
              <a:gd name="connsiteX64" fmla="*/ 2171414 w 6829615"/>
              <a:gd name="connsiteY64" fmla="*/ 2536222 h 4031170"/>
              <a:gd name="connsiteX65" fmla="*/ 2171414 w 6829615"/>
              <a:gd name="connsiteY65" fmla="*/ 2782348 h 4031170"/>
              <a:gd name="connsiteX66" fmla="*/ 2424017 w 6829615"/>
              <a:gd name="connsiteY66" fmla="*/ 3204782 h 4031170"/>
              <a:gd name="connsiteX67" fmla="*/ 2424017 w 6829615"/>
              <a:gd name="connsiteY67" fmla="*/ 3455861 h 4031170"/>
              <a:gd name="connsiteX68" fmla="*/ 2493740 w 6829615"/>
              <a:gd name="connsiteY68" fmla="*/ 3546824 h 4031170"/>
              <a:gd name="connsiteX69" fmla="*/ 2523554 w 6829615"/>
              <a:gd name="connsiteY69" fmla="*/ 3497485 h 4031170"/>
              <a:gd name="connsiteX70" fmla="*/ 2523554 w 6829615"/>
              <a:gd name="connsiteY70" fmla="*/ 3311366 h 4031170"/>
              <a:gd name="connsiteX71" fmla="*/ 2882741 w 6829615"/>
              <a:gd name="connsiteY71" fmla="*/ 2736723 h 4031170"/>
              <a:gd name="connsiteX72" fmla="*/ 2885694 w 6829615"/>
              <a:gd name="connsiteY72" fmla="*/ 2291906 h 4031170"/>
              <a:gd name="connsiteX73" fmla="*/ 3159919 w 6829615"/>
              <a:gd name="connsiteY73" fmla="*/ 1831372 h 4031170"/>
              <a:gd name="connsiteX74" fmla="*/ 3448907 w 6829615"/>
              <a:gd name="connsiteY74" fmla="*/ 1830324 h 4031170"/>
              <a:gd name="connsiteX75" fmla="*/ 3463671 w 6829615"/>
              <a:gd name="connsiteY75" fmla="*/ 1805464 h 4031170"/>
              <a:gd name="connsiteX76" fmla="*/ 3139345 w 6829615"/>
              <a:gd name="connsiteY76" fmla="*/ 1804226 h 4031170"/>
              <a:gd name="connsiteX77" fmla="*/ 2795969 w 6829615"/>
              <a:gd name="connsiteY77" fmla="*/ 1241489 h 4031170"/>
              <a:gd name="connsiteX78" fmla="*/ 2806637 w 6829615"/>
              <a:gd name="connsiteY78" fmla="*/ 959072 h 4031170"/>
              <a:gd name="connsiteX79" fmla="*/ 2635949 w 6829615"/>
              <a:gd name="connsiteY79" fmla="*/ 708470 h 4031170"/>
              <a:gd name="connsiteX80" fmla="*/ 2205990 w 6829615"/>
              <a:gd name="connsiteY80" fmla="*/ 706184 h 4031170"/>
              <a:gd name="connsiteX81" fmla="*/ 2018062 w 6829615"/>
              <a:gd name="connsiteY81" fmla="*/ 1035939 h 4031170"/>
              <a:gd name="connsiteX82" fmla="*/ 1136618 w 6829615"/>
              <a:gd name="connsiteY82" fmla="*/ 1035939 h 4031170"/>
              <a:gd name="connsiteX83" fmla="*/ 966883 w 6829615"/>
              <a:gd name="connsiteY83" fmla="*/ 719423 h 4031170"/>
              <a:gd name="connsiteX84" fmla="*/ 906685 w 6829615"/>
              <a:gd name="connsiteY84" fmla="*/ 719423 h 4031170"/>
              <a:gd name="connsiteX85" fmla="*/ 707708 w 6829615"/>
              <a:gd name="connsiteY85" fmla="*/ 1096709 h 4031170"/>
              <a:gd name="connsiteX86" fmla="*/ 708946 w 6829615"/>
              <a:gd name="connsiteY86" fmla="*/ 1153954 h 4031170"/>
              <a:gd name="connsiteX87" fmla="*/ 2203990 w 6829615"/>
              <a:gd name="connsiteY87" fmla="*/ 1154811 h 4031170"/>
              <a:gd name="connsiteX88" fmla="*/ 2355342 w 6829615"/>
              <a:gd name="connsiteY88" fmla="*/ 858298 h 4031170"/>
              <a:gd name="connsiteX89" fmla="*/ 2559749 w 6829615"/>
              <a:gd name="connsiteY89" fmla="*/ 858298 h 4031170"/>
              <a:gd name="connsiteX90" fmla="*/ 2688812 w 6829615"/>
              <a:gd name="connsiteY90" fmla="*/ 1028414 h 4031170"/>
              <a:gd name="connsiteX91" fmla="*/ 2688812 w 6829615"/>
              <a:gd name="connsiteY91" fmla="*/ 1353217 h 4031170"/>
              <a:gd name="connsiteX92" fmla="*/ 3007519 w 6829615"/>
              <a:gd name="connsiteY92" fmla="*/ 1887664 h 4031170"/>
              <a:gd name="connsiteX93" fmla="*/ 2767394 w 6829615"/>
              <a:gd name="connsiteY93" fmla="*/ 2247900 h 4031170"/>
              <a:gd name="connsiteX94" fmla="*/ 2761583 w 6829615"/>
              <a:gd name="connsiteY94" fmla="*/ 2718149 h 4031170"/>
              <a:gd name="connsiteX95" fmla="*/ 2500313 w 6829615"/>
              <a:gd name="connsiteY95" fmla="*/ 3111532 h 4031170"/>
              <a:gd name="connsiteX96" fmla="*/ 2262378 w 6829615"/>
              <a:gd name="connsiteY96" fmla="*/ 2712149 h 4031170"/>
              <a:gd name="connsiteX97" fmla="*/ 2262378 w 6829615"/>
              <a:gd name="connsiteY97" fmla="*/ 2427446 h 4031170"/>
              <a:gd name="connsiteX98" fmla="*/ 2158460 w 6829615"/>
              <a:gd name="connsiteY98" fmla="*/ 2257139 h 4031170"/>
              <a:gd name="connsiteX99" fmla="*/ 2158460 w 6829615"/>
              <a:gd name="connsiteY99" fmla="*/ 1856708 h 4031170"/>
              <a:gd name="connsiteX100" fmla="*/ 1913192 w 6829615"/>
              <a:gd name="connsiteY100" fmla="*/ 1441323 h 4031170"/>
              <a:gd name="connsiteX101" fmla="*/ 2415635 w 6829615"/>
              <a:gd name="connsiteY101" fmla="*/ 1441323 h 4031170"/>
              <a:gd name="connsiteX102" fmla="*/ 2683859 w 6829615"/>
              <a:gd name="connsiteY102" fmla="*/ 1863090 h 4031170"/>
              <a:gd name="connsiteX103" fmla="*/ 2526887 w 6829615"/>
              <a:gd name="connsiteY103" fmla="*/ 2100072 h 4031170"/>
              <a:gd name="connsiteX104" fmla="*/ 2526887 w 6829615"/>
              <a:gd name="connsiteY104" fmla="*/ 2145125 h 4031170"/>
              <a:gd name="connsiteX105" fmla="*/ 2364962 w 6829615"/>
              <a:gd name="connsiteY105" fmla="*/ 2145125 h 4031170"/>
              <a:gd name="connsiteX106" fmla="*/ 2364962 w 6829615"/>
              <a:gd name="connsiteY106" fmla="*/ 2051399 h 4031170"/>
              <a:gd name="connsiteX107" fmla="*/ 2490788 w 6829615"/>
              <a:gd name="connsiteY107" fmla="*/ 1861280 h 4031170"/>
              <a:gd name="connsiteX108" fmla="*/ 2326672 w 6829615"/>
              <a:gd name="connsiteY108" fmla="*/ 1603248 h 4031170"/>
              <a:gd name="connsiteX109" fmla="*/ 2196846 w 6829615"/>
              <a:gd name="connsiteY109" fmla="*/ 1603248 h 4031170"/>
              <a:gd name="connsiteX110" fmla="*/ 2320385 w 6829615"/>
              <a:gd name="connsiteY110" fmla="*/ 1812417 h 4031170"/>
              <a:gd name="connsiteX111" fmla="*/ 2320385 w 6829615"/>
              <a:gd name="connsiteY111" fmla="*/ 2211705 h 4031170"/>
              <a:gd name="connsiteX112" fmla="*/ 2424303 w 6829615"/>
              <a:gd name="connsiteY112" fmla="*/ 2381917 h 4031170"/>
              <a:gd name="connsiteX113" fmla="*/ 2424303 w 6829615"/>
              <a:gd name="connsiteY113" fmla="*/ 2667572 h 4031170"/>
              <a:gd name="connsiteX114" fmla="*/ 2507742 w 6829615"/>
              <a:gd name="connsiteY114" fmla="*/ 2807684 h 4031170"/>
              <a:gd name="connsiteX115" fmla="*/ 2600325 w 6829615"/>
              <a:gd name="connsiteY115" fmla="*/ 2668334 h 4031170"/>
              <a:gd name="connsiteX116" fmla="*/ 2606040 w 6829615"/>
              <a:gd name="connsiteY116" fmla="*/ 2197894 h 4031170"/>
              <a:gd name="connsiteX117" fmla="*/ 2816066 w 6829615"/>
              <a:gd name="connsiteY117" fmla="*/ 1882902 h 4031170"/>
              <a:gd name="connsiteX118" fmla="*/ 2526887 w 6829615"/>
              <a:gd name="connsiteY118" fmla="*/ 1397794 h 4031170"/>
              <a:gd name="connsiteX119" fmla="*/ 2526887 w 6829615"/>
              <a:gd name="connsiteY119" fmla="*/ 1082897 h 4031170"/>
              <a:gd name="connsiteX120" fmla="*/ 2479358 w 6829615"/>
              <a:gd name="connsiteY120" fmla="*/ 1020223 h 4031170"/>
              <a:gd name="connsiteX121" fmla="*/ 2454497 w 6829615"/>
              <a:gd name="connsiteY121" fmla="*/ 1020223 h 4031170"/>
              <a:gd name="connsiteX122" fmla="*/ 2303145 w 6829615"/>
              <a:gd name="connsiteY122" fmla="*/ 1316831 h 4031170"/>
              <a:gd name="connsiteX123" fmla="*/ 759143 w 6829615"/>
              <a:gd name="connsiteY123" fmla="*/ 1315974 h 4031170"/>
              <a:gd name="connsiteX124" fmla="*/ 686562 w 6829615"/>
              <a:gd name="connsiteY124" fmla="*/ 1377315 h 4031170"/>
              <a:gd name="connsiteX125" fmla="*/ 602647 w 6829615"/>
              <a:gd name="connsiteY125" fmla="*/ 1378744 h 4031170"/>
              <a:gd name="connsiteX126" fmla="*/ 550259 w 6829615"/>
              <a:gd name="connsiteY126" fmla="*/ 1309402 h 4031170"/>
              <a:gd name="connsiteX127" fmla="*/ 545021 w 6829615"/>
              <a:gd name="connsiteY127" fmla="*/ 1058228 h 4031170"/>
              <a:gd name="connsiteX128" fmla="*/ 808958 w 6829615"/>
              <a:gd name="connsiteY128" fmla="*/ 557498 h 4031170"/>
              <a:gd name="connsiteX129" fmla="*/ 1063752 w 6829615"/>
              <a:gd name="connsiteY129" fmla="*/ 557498 h 4031170"/>
              <a:gd name="connsiteX130" fmla="*/ 1233583 w 6829615"/>
              <a:gd name="connsiteY130" fmla="*/ 874014 h 4031170"/>
              <a:gd name="connsiteX131" fmla="*/ 1923955 w 6829615"/>
              <a:gd name="connsiteY131" fmla="*/ 874014 h 4031170"/>
              <a:gd name="connsiteX132" fmla="*/ 2112264 w 6829615"/>
              <a:gd name="connsiteY132" fmla="*/ 543687 h 4031170"/>
              <a:gd name="connsiteX133" fmla="*/ 2721864 w 6829615"/>
              <a:gd name="connsiteY133" fmla="*/ 547021 h 4031170"/>
              <a:gd name="connsiteX134" fmla="*/ 2970371 w 6829615"/>
              <a:gd name="connsiteY134" fmla="*/ 911924 h 4031170"/>
              <a:gd name="connsiteX135" fmla="*/ 2959608 w 6829615"/>
              <a:gd name="connsiteY135" fmla="*/ 1198721 h 4031170"/>
              <a:gd name="connsiteX136" fmla="*/ 3230404 w 6829615"/>
              <a:gd name="connsiteY136" fmla="*/ 1642682 h 4031170"/>
              <a:gd name="connsiteX137" fmla="*/ 3747326 w 6829615"/>
              <a:gd name="connsiteY137" fmla="*/ 1644587 h 4031170"/>
              <a:gd name="connsiteX138" fmla="*/ 3541300 w 6829615"/>
              <a:gd name="connsiteY138" fmla="*/ 1991868 h 4031170"/>
              <a:gd name="connsiteX139" fmla="*/ 3252216 w 6829615"/>
              <a:gd name="connsiteY139" fmla="*/ 1993011 h 4031170"/>
              <a:gd name="connsiteX140" fmla="*/ 3047333 w 6829615"/>
              <a:gd name="connsiteY140" fmla="*/ 2336959 h 4031170"/>
              <a:gd name="connsiteX141" fmla="*/ 3044381 w 6829615"/>
              <a:gd name="connsiteY141" fmla="*/ 2783681 h 4031170"/>
              <a:gd name="connsiteX142" fmla="*/ 2685479 w 6829615"/>
              <a:gd name="connsiteY142" fmla="*/ 3357848 h 4031170"/>
              <a:gd name="connsiteX143" fmla="*/ 2685479 w 6829615"/>
              <a:gd name="connsiteY143" fmla="*/ 3542633 h 4031170"/>
              <a:gd name="connsiteX144" fmla="*/ 2572417 w 6829615"/>
              <a:gd name="connsiteY144" fmla="*/ 3729704 h 4031170"/>
              <a:gd name="connsiteX145" fmla="*/ 2429923 w 6829615"/>
              <a:gd name="connsiteY145" fmla="*/ 3729704 h 4031170"/>
              <a:gd name="connsiteX146" fmla="*/ 2262092 w 6829615"/>
              <a:gd name="connsiteY146" fmla="*/ 3510820 h 4031170"/>
              <a:gd name="connsiteX147" fmla="*/ 2262092 w 6829615"/>
              <a:gd name="connsiteY147" fmla="*/ 3249454 h 4031170"/>
              <a:gd name="connsiteX148" fmla="*/ 2009489 w 6829615"/>
              <a:gd name="connsiteY148" fmla="*/ 2827115 h 4031170"/>
              <a:gd name="connsiteX149" fmla="*/ 2009489 w 6829615"/>
              <a:gd name="connsiteY149" fmla="*/ 2579941 h 4031170"/>
              <a:gd name="connsiteX150" fmla="*/ 1868900 w 6829615"/>
              <a:gd name="connsiteY150" fmla="*/ 2338483 h 4031170"/>
              <a:gd name="connsiteX151" fmla="*/ 1868900 w 6829615"/>
              <a:gd name="connsiteY151" fmla="*/ 1931575 h 4031170"/>
              <a:gd name="connsiteX152" fmla="*/ 1692974 w 6829615"/>
              <a:gd name="connsiteY152" fmla="*/ 1611154 h 4031170"/>
              <a:gd name="connsiteX153" fmla="*/ 903827 w 6829615"/>
              <a:gd name="connsiteY153" fmla="*/ 1611154 h 4031170"/>
              <a:gd name="connsiteX154" fmla="*/ 800481 w 6829615"/>
              <a:gd name="connsiteY154" fmla="*/ 1746314 h 4031170"/>
              <a:gd name="connsiteX155" fmla="*/ 513398 w 6829615"/>
              <a:gd name="connsiteY155" fmla="*/ 1746314 h 4031170"/>
              <a:gd name="connsiteX156" fmla="*/ 267653 w 6829615"/>
              <a:gd name="connsiteY156" fmla="*/ 1391984 h 4031170"/>
              <a:gd name="connsiteX157" fmla="*/ 258413 w 6829615"/>
              <a:gd name="connsiteY157" fmla="*/ 954119 h 4031170"/>
              <a:gd name="connsiteX158" fmla="*/ 644843 w 6829615"/>
              <a:gd name="connsiteY158" fmla="*/ 269462 h 4031170"/>
              <a:gd name="connsiteX159" fmla="*/ 1195102 w 6829615"/>
              <a:gd name="connsiteY159" fmla="*/ 269462 h 4031170"/>
              <a:gd name="connsiteX160" fmla="*/ 1397984 w 6829615"/>
              <a:gd name="connsiteY160" fmla="*/ 616172 h 4031170"/>
              <a:gd name="connsiteX161" fmla="*/ 1777937 w 6829615"/>
              <a:gd name="connsiteY161" fmla="*/ 616172 h 4031170"/>
              <a:gd name="connsiteX162" fmla="*/ 1962722 w 6829615"/>
              <a:gd name="connsiteY162" fmla="*/ 278987 h 4031170"/>
              <a:gd name="connsiteX163" fmla="*/ 2831402 w 6829615"/>
              <a:gd name="connsiteY163" fmla="*/ 278987 h 4031170"/>
              <a:gd name="connsiteX164" fmla="*/ 3219545 w 6829615"/>
              <a:gd name="connsiteY164" fmla="*/ 815435 h 4031170"/>
              <a:gd name="connsiteX165" fmla="*/ 3219069 w 6829615"/>
              <a:gd name="connsiteY165" fmla="*/ 1140905 h 4031170"/>
              <a:gd name="connsiteX166" fmla="*/ 3378041 w 6829615"/>
              <a:gd name="connsiteY166" fmla="*/ 1414082 h 4031170"/>
              <a:gd name="connsiteX167" fmla="*/ 4152138 w 6829615"/>
              <a:gd name="connsiteY167" fmla="*/ 1414082 h 4031170"/>
              <a:gd name="connsiteX168" fmla="*/ 3689318 w 6829615"/>
              <a:gd name="connsiteY168" fmla="*/ 2223326 h 4031170"/>
              <a:gd name="connsiteX169" fmla="*/ 3462719 w 6829615"/>
              <a:gd name="connsiteY169" fmla="*/ 2220944 h 4031170"/>
              <a:gd name="connsiteX170" fmla="*/ 3312128 w 6829615"/>
              <a:gd name="connsiteY170" fmla="*/ 2458498 h 4031170"/>
              <a:gd name="connsiteX171" fmla="*/ 3312128 w 6829615"/>
              <a:gd name="connsiteY171" fmla="*/ 2864263 h 4031170"/>
              <a:gd name="connsiteX172" fmla="*/ 2926175 w 6829615"/>
              <a:gd name="connsiteY172" fmla="*/ 3469386 h 4031170"/>
              <a:gd name="connsiteX173" fmla="*/ 2926175 w 6829615"/>
              <a:gd name="connsiteY173" fmla="*/ 3685604 h 4031170"/>
              <a:gd name="connsiteX174" fmla="*/ 2718340 w 6829615"/>
              <a:gd name="connsiteY174" fmla="*/ 4031171 h 4031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829615" h="4031170">
                <a:moveTo>
                  <a:pt x="2718340" y="4031171"/>
                </a:moveTo>
                <a:lnTo>
                  <a:pt x="2288381" y="4028504"/>
                </a:lnTo>
                <a:lnTo>
                  <a:pt x="1978724" y="3663887"/>
                </a:lnTo>
                <a:lnTo>
                  <a:pt x="1978724" y="3314129"/>
                </a:lnTo>
                <a:lnTo>
                  <a:pt x="1742980" y="2885599"/>
                </a:lnTo>
                <a:lnTo>
                  <a:pt x="1743742" y="2627662"/>
                </a:lnTo>
                <a:lnTo>
                  <a:pt x="1603534" y="2383631"/>
                </a:lnTo>
                <a:lnTo>
                  <a:pt x="1603534" y="1988344"/>
                </a:lnTo>
                <a:lnTo>
                  <a:pt x="1563624" y="1916906"/>
                </a:lnTo>
                <a:lnTo>
                  <a:pt x="1009840" y="1916906"/>
                </a:lnTo>
                <a:lnTo>
                  <a:pt x="947833" y="2024443"/>
                </a:lnTo>
                <a:lnTo>
                  <a:pt x="351282" y="2024443"/>
                </a:lnTo>
                <a:lnTo>
                  <a:pt x="0" y="1478661"/>
                </a:lnTo>
                <a:lnTo>
                  <a:pt x="0" y="860965"/>
                </a:lnTo>
                <a:lnTo>
                  <a:pt x="512636" y="0"/>
                </a:lnTo>
                <a:lnTo>
                  <a:pt x="1361408" y="0"/>
                </a:lnTo>
                <a:lnTo>
                  <a:pt x="1537526" y="290417"/>
                </a:lnTo>
                <a:lnTo>
                  <a:pt x="1638967" y="289751"/>
                </a:lnTo>
                <a:lnTo>
                  <a:pt x="1798130" y="0"/>
                </a:lnTo>
                <a:lnTo>
                  <a:pt x="6829616" y="0"/>
                </a:lnTo>
                <a:lnTo>
                  <a:pt x="6829616" y="161925"/>
                </a:lnTo>
                <a:lnTo>
                  <a:pt x="1893951" y="161925"/>
                </a:lnTo>
                <a:lnTo>
                  <a:pt x="1735169" y="451104"/>
                </a:lnTo>
                <a:lnTo>
                  <a:pt x="1446752" y="452914"/>
                </a:lnTo>
                <a:lnTo>
                  <a:pt x="1270254" y="161925"/>
                </a:lnTo>
                <a:lnTo>
                  <a:pt x="604647" y="161925"/>
                </a:lnTo>
                <a:lnTo>
                  <a:pt x="161925" y="905447"/>
                </a:lnTo>
                <a:lnTo>
                  <a:pt x="161925" y="1431036"/>
                </a:lnTo>
                <a:lnTo>
                  <a:pt x="439674" y="1862518"/>
                </a:lnTo>
                <a:lnTo>
                  <a:pt x="854297" y="1862518"/>
                </a:lnTo>
                <a:lnTo>
                  <a:pt x="916305" y="1754981"/>
                </a:lnTo>
                <a:lnTo>
                  <a:pt x="1658684" y="1754981"/>
                </a:lnTo>
                <a:lnTo>
                  <a:pt x="1765459" y="1946148"/>
                </a:lnTo>
                <a:lnTo>
                  <a:pt x="1765459" y="2340388"/>
                </a:lnTo>
                <a:lnTo>
                  <a:pt x="1905762" y="2584704"/>
                </a:lnTo>
                <a:lnTo>
                  <a:pt x="1905000" y="2844260"/>
                </a:lnTo>
                <a:lnTo>
                  <a:pt x="2140649" y="3272504"/>
                </a:lnTo>
                <a:lnTo>
                  <a:pt x="2140649" y="3604451"/>
                </a:lnTo>
                <a:lnTo>
                  <a:pt x="2363724" y="3867055"/>
                </a:lnTo>
                <a:lnTo>
                  <a:pt x="2627090" y="3868674"/>
                </a:lnTo>
                <a:lnTo>
                  <a:pt x="2764250" y="3640646"/>
                </a:lnTo>
                <a:lnTo>
                  <a:pt x="2764250" y="3422047"/>
                </a:lnTo>
                <a:lnTo>
                  <a:pt x="3150203" y="2817019"/>
                </a:lnTo>
                <a:lnTo>
                  <a:pt x="3150203" y="2411444"/>
                </a:lnTo>
                <a:lnTo>
                  <a:pt x="3374231" y="2058067"/>
                </a:lnTo>
                <a:lnTo>
                  <a:pt x="3595973" y="2060448"/>
                </a:lnTo>
                <a:lnTo>
                  <a:pt x="3872960" y="1576007"/>
                </a:lnTo>
                <a:lnTo>
                  <a:pt x="3284982" y="1576007"/>
                </a:lnTo>
                <a:lnTo>
                  <a:pt x="3057049" y="1184529"/>
                </a:lnTo>
                <a:lnTo>
                  <a:pt x="3057525" y="867728"/>
                </a:lnTo>
                <a:lnTo>
                  <a:pt x="2748724" y="440912"/>
                </a:lnTo>
                <a:lnTo>
                  <a:pt x="2058638" y="440912"/>
                </a:lnTo>
                <a:lnTo>
                  <a:pt x="1873853" y="778097"/>
                </a:lnTo>
                <a:lnTo>
                  <a:pt x="1305116" y="778097"/>
                </a:lnTo>
                <a:lnTo>
                  <a:pt x="1102233" y="431387"/>
                </a:lnTo>
                <a:lnTo>
                  <a:pt x="739426" y="431387"/>
                </a:lnTo>
                <a:lnTo>
                  <a:pt x="421196" y="995077"/>
                </a:lnTo>
                <a:lnTo>
                  <a:pt x="428435" y="1339787"/>
                </a:lnTo>
                <a:lnTo>
                  <a:pt x="598075" y="1584389"/>
                </a:lnTo>
                <a:lnTo>
                  <a:pt x="720471" y="1584389"/>
                </a:lnTo>
                <a:lnTo>
                  <a:pt x="823817" y="1449229"/>
                </a:lnTo>
                <a:lnTo>
                  <a:pt x="1788795" y="1449229"/>
                </a:lnTo>
                <a:lnTo>
                  <a:pt x="2030825" y="1890046"/>
                </a:lnTo>
                <a:lnTo>
                  <a:pt x="2030825" y="2294763"/>
                </a:lnTo>
                <a:lnTo>
                  <a:pt x="2171414" y="2536222"/>
                </a:lnTo>
                <a:lnTo>
                  <a:pt x="2171414" y="2782348"/>
                </a:lnTo>
                <a:lnTo>
                  <a:pt x="2424017" y="3204782"/>
                </a:lnTo>
                <a:lnTo>
                  <a:pt x="2424017" y="3455861"/>
                </a:lnTo>
                <a:lnTo>
                  <a:pt x="2493740" y="3546824"/>
                </a:lnTo>
                <a:lnTo>
                  <a:pt x="2523554" y="3497485"/>
                </a:lnTo>
                <a:lnTo>
                  <a:pt x="2523554" y="3311366"/>
                </a:lnTo>
                <a:lnTo>
                  <a:pt x="2882741" y="2736723"/>
                </a:lnTo>
                <a:lnTo>
                  <a:pt x="2885694" y="2291906"/>
                </a:lnTo>
                <a:lnTo>
                  <a:pt x="3159919" y="1831372"/>
                </a:lnTo>
                <a:lnTo>
                  <a:pt x="3448907" y="1830324"/>
                </a:lnTo>
                <a:lnTo>
                  <a:pt x="3463671" y="1805464"/>
                </a:lnTo>
                <a:lnTo>
                  <a:pt x="3139345" y="1804226"/>
                </a:lnTo>
                <a:lnTo>
                  <a:pt x="2795969" y="1241489"/>
                </a:lnTo>
                <a:lnTo>
                  <a:pt x="2806637" y="959072"/>
                </a:lnTo>
                <a:lnTo>
                  <a:pt x="2635949" y="708470"/>
                </a:lnTo>
                <a:lnTo>
                  <a:pt x="2205990" y="706184"/>
                </a:lnTo>
                <a:lnTo>
                  <a:pt x="2018062" y="1035939"/>
                </a:lnTo>
                <a:lnTo>
                  <a:pt x="1136618" y="1035939"/>
                </a:lnTo>
                <a:lnTo>
                  <a:pt x="966883" y="719423"/>
                </a:lnTo>
                <a:lnTo>
                  <a:pt x="906685" y="719423"/>
                </a:lnTo>
                <a:lnTo>
                  <a:pt x="707708" y="1096709"/>
                </a:lnTo>
                <a:lnTo>
                  <a:pt x="708946" y="1153954"/>
                </a:lnTo>
                <a:lnTo>
                  <a:pt x="2203990" y="1154811"/>
                </a:lnTo>
                <a:lnTo>
                  <a:pt x="2355342" y="858298"/>
                </a:lnTo>
                <a:lnTo>
                  <a:pt x="2559749" y="858298"/>
                </a:lnTo>
                <a:lnTo>
                  <a:pt x="2688812" y="1028414"/>
                </a:lnTo>
                <a:lnTo>
                  <a:pt x="2688812" y="1353217"/>
                </a:lnTo>
                <a:lnTo>
                  <a:pt x="3007519" y="1887664"/>
                </a:lnTo>
                <a:lnTo>
                  <a:pt x="2767394" y="2247900"/>
                </a:lnTo>
                <a:lnTo>
                  <a:pt x="2761583" y="2718149"/>
                </a:lnTo>
                <a:lnTo>
                  <a:pt x="2500313" y="3111532"/>
                </a:lnTo>
                <a:lnTo>
                  <a:pt x="2262378" y="2712149"/>
                </a:lnTo>
                <a:lnTo>
                  <a:pt x="2262378" y="2427446"/>
                </a:lnTo>
                <a:lnTo>
                  <a:pt x="2158460" y="2257139"/>
                </a:lnTo>
                <a:lnTo>
                  <a:pt x="2158460" y="1856708"/>
                </a:lnTo>
                <a:lnTo>
                  <a:pt x="1913192" y="1441323"/>
                </a:lnTo>
                <a:lnTo>
                  <a:pt x="2415635" y="1441323"/>
                </a:lnTo>
                <a:lnTo>
                  <a:pt x="2683859" y="1863090"/>
                </a:lnTo>
                <a:lnTo>
                  <a:pt x="2526887" y="2100072"/>
                </a:lnTo>
                <a:lnTo>
                  <a:pt x="2526887" y="2145125"/>
                </a:lnTo>
                <a:lnTo>
                  <a:pt x="2364962" y="2145125"/>
                </a:lnTo>
                <a:lnTo>
                  <a:pt x="2364962" y="2051399"/>
                </a:lnTo>
                <a:lnTo>
                  <a:pt x="2490788" y="1861280"/>
                </a:lnTo>
                <a:lnTo>
                  <a:pt x="2326672" y="1603248"/>
                </a:lnTo>
                <a:lnTo>
                  <a:pt x="2196846" y="1603248"/>
                </a:lnTo>
                <a:lnTo>
                  <a:pt x="2320385" y="1812417"/>
                </a:lnTo>
                <a:lnTo>
                  <a:pt x="2320385" y="2211705"/>
                </a:lnTo>
                <a:lnTo>
                  <a:pt x="2424303" y="2381917"/>
                </a:lnTo>
                <a:lnTo>
                  <a:pt x="2424303" y="2667572"/>
                </a:lnTo>
                <a:lnTo>
                  <a:pt x="2507742" y="2807684"/>
                </a:lnTo>
                <a:lnTo>
                  <a:pt x="2600325" y="2668334"/>
                </a:lnTo>
                <a:lnTo>
                  <a:pt x="2606040" y="2197894"/>
                </a:lnTo>
                <a:lnTo>
                  <a:pt x="2816066" y="1882902"/>
                </a:lnTo>
                <a:lnTo>
                  <a:pt x="2526887" y="1397794"/>
                </a:lnTo>
                <a:lnTo>
                  <a:pt x="2526887" y="1082897"/>
                </a:lnTo>
                <a:lnTo>
                  <a:pt x="2479358" y="1020223"/>
                </a:lnTo>
                <a:lnTo>
                  <a:pt x="2454497" y="1020223"/>
                </a:lnTo>
                <a:lnTo>
                  <a:pt x="2303145" y="1316831"/>
                </a:lnTo>
                <a:lnTo>
                  <a:pt x="759143" y="1315974"/>
                </a:lnTo>
                <a:lnTo>
                  <a:pt x="686562" y="1377315"/>
                </a:lnTo>
                <a:lnTo>
                  <a:pt x="602647" y="1378744"/>
                </a:lnTo>
                <a:lnTo>
                  <a:pt x="550259" y="1309402"/>
                </a:lnTo>
                <a:lnTo>
                  <a:pt x="545021" y="1058228"/>
                </a:lnTo>
                <a:lnTo>
                  <a:pt x="808958" y="557498"/>
                </a:lnTo>
                <a:lnTo>
                  <a:pt x="1063752" y="557498"/>
                </a:lnTo>
                <a:lnTo>
                  <a:pt x="1233583" y="874014"/>
                </a:lnTo>
                <a:lnTo>
                  <a:pt x="1923955" y="874014"/>
                </a:lnTo>
                <a:lnTo>
                  <a:pt x="2112264" y="543687"/>
                </a:lnTo>
                <a:lnTo>
                  <a:pt x="2721864" y="547021"/>
                </a:lnTo>
                <a:lnTo>
                  <a:pt x="2970371" y="911924"/>
                </a:lnTo>
                <a:lnTo>
                  <a:pt x="2959608" y="1198721"/>
                </a:lnTo>
                <a:lnTo>
                  <a:pt x="3230404" y="1642682"/>
                </a:lnTo>
                <a:lnTo>
                  <a:pt x="3747326" y="1644587"/>
                </a:lnTo>
                <a:lnTo>
                  <a:pt x="3541300" y="1991868"/>
                </a:lnTo>
                <a:lnTo>
                  <a:pt x="3252216" y="1993011"/>
                </a:lnTo>
                <a:lnTo>
                  <a:pt x="3047333" y="2336959"/>
                </a:lnTo>
                <a:lnTo>
                  <a:pt x="3044381" y="2783681"/>
                </a:lnTo>
                <a:lnTo>
                  <a:pt x="2685479" y="3357848"/>
                </a:lnTo>
                <a:lnTo>
                  <a:pt x="2685479" y="3542633"/>
                </a:lnTo>
                <a:lnTo>
                  <a:pt x="2572417" y="3729704"/>
                </a:lnTo>
                <a:lnTo>
                  <a:pt x="2429923" y="3729704"/>
                </a:lnTo>
                <a:lnTo>
                  <a:pt x="2262092" y="3510820"/>
                </a:lnTo>
                <a:lnTo>
                  <a:pt x="2262092" y="3249454"/>
                </a:lnTo>
                <a:lnTo>
                  <a:pt x="2009489" y="2827115"/>
                </a:lnTo>
                <a:lnTo>
                  <a:pt x="2009489" y="2579941"/>
                </a:lnTo>
                <a:lnTo>
                  <a:pt x="1868900" y="2338483"/>
                </a:lnTo>
                <a:lnTo>
                  <a:pt x="1868900" y="1931575"/>
                </a:lnTo>
                <a:lnTo>
                  <a:pt x="1692974" y="1611154"/>
                </a:lnTo>
                <a:lnTo>
                  <a:pt x="903827" y="1611154"/>
                </a:lnTo>
                <a:lnTo>
                  <a:pt x="800481" y="1746314"/>
                </a:lnTo>
                <a:lnTo>
                  <a:pt x="513398" y="1746314"/>
                </a:lnTo>
                <a:lnTo>
                  <a:pt x="267653" y="1391984"/>
                </a:lnTo>
                <a:lnTo>
                  <a:pt x="258413" y="954119"/>
                </a:lnTo>
                <a:lnTo>
                  <a:pt x="644843" y="269462"/>
                </a:lnTo>
                <a:lnTo>
                  <a:pt x="1195102" y="269462"/>
                </a:lnTo>
                <a:lnTo>
                  <a:pt x="1397984" y="616172"/>
                </a:lnTo>
                <a:lnTo>
                  <a:pt x="1777937" y="616172"/>
                </a:lnTo>
                <a:lnTo>
                  <a:pt x="1962722" y="278987"/>
                </a:lnTo>
                <a:lnTo>
                  <a:pt x="2831402" y="278987"/>
                </a:lnTo>
                <a:lnTo>
                  <a:pt x="3219545" y="815435"/>
                </a:lnTo>
                <a:lnTo>
                  <a:pt x="3219069" y="1140905"/>
                </a:lnTo>
                <a:lnTo>
                  <a:pt x="3378041" y="1414082"/>
                </a:lnTo>
                <a:lnTo>
                  <a:pt x="4152138" y="1414082"/>
                </a:lnTo>
                <a:lnTo>
                  <a:pt x="3689318" y="2223326"/>
                </a:lnTo>
                <a:lnTo>
                  <a:pt x="3462719" y="2220944"/>
                </a:lnTo>
                <a:lnTo>
                  <a:pt x="3312128" y="2458498"/>
                </a:lnTo>
                <a:lnTo>
                  <a:pt x="3312128" y="2864263"/>
                </a:lnTo>
                <a:lnTo>
                  <a:pt x="2926175" y="3469386"/>
                </a:lnTo>
                <a:lnTo>
                  <a:pt x="2926175" y="3685604"/>
                </a:lnTo>
                <a:lnTo>
                  <a:pt x="2718340" y="4031171"/>
                </a:lnTo>
                <a:close/>
              </a:path>
            </a:pathLst>
          </a:custGeom>
          <a:solidFill>
            <a:srgbClr val="7DBA0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825"/>
          </a:p>
        </p:txBody>
      </p:sp>
    </p:spTree>
    <p:extLst>
      <p:ext uri="{BB962C8B-B14F-4D97-AF65-F5344CB8AC3E}">
        <p14:creationId xmlns:p14="http://schemas.microsoft.com/office/powerpoint/2010/main" val="3081015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956505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CONTENTS SLIDE</a:t>
            </a:r>
            <a:endParaRPr lang="en-ZA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7" y="2085874"/>
            <a:ext cx="2995808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/>
              <a:t>Normal text here and here and here and here</a:t>
            </a:r>
            <a:endParaRPr lang="en-GB" sz="2000"/>
          </a:p>
          <a:p>
            <a:pPr marL="197049" marR="3008">
              <a:lnSpc>
                <a:spcPct val="100600"/>
              </a:lnSpc>
            </a:pPr>
            <a:endParaRPr lang="en-GB" sz="1600"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B7093058-1C72-42EE-AFD4-C6A337F2FC13}"/>
              </a:ext>
            </a:extLst>
          </p:cNvPr>
          <p:cNvSpPr/>
          <p:nvPr userDrawn="1"/>
        </p:nvSpPr>
        <p:spPr>
          <a:xfrm>
            <a:off x="8580474" y="3407791"/>
            <a:ext cx="3205788" cy="3090186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DAEEFD-DCFE-4D14-85F4-4BB3537514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46762" y="16185"/>
            <a:ext cx="1148040" cy="1151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257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1" y="1078100"/>
            <a:ext cx="7412385" cy="78483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1" y="3042909"/>
            <a:ext cx="2810385" cy="650151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  <p:pic>
        <p:nvPicPr>
          <p:cNvPr id="10" name="Picture 9" descr="A green train on a track&#10;&#10;Description automatically generated">
            <a:extLst>
              <a:ext uri="{FF2B5EF4-FFF2-40B4-BE49-F238E27FC236}">
                <a16:creationId xmlns:a16="http://schemas.microsoft.com/office/drawing/2014/main" id="{632EF9B6-B7F2-5B68-A22D-54C283B3FF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6561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8551" y="1078100"/>
            <a:ext cx="5071264" cy="133882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4971" y="3952119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21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6416327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 descr="Colourful cargo containers stacked with a worker standing">
            <a:extLst>
              <a:ext uri="{FF2B5EF4-FFF2-40B4-BE49-F238E27FC236}">
                <a16:creationId xmlns:a16="http://schemas.microsoft.com/office/drawing/2014/main" id="{77320EED-BBCB-8B40-2FBE-A4CA2CA7D0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1" y="1078100"/>
            <a:ext cx="7412385" cy="78483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1" y="3042909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7483177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rain tracks with train cars on each side&#10;&#10;Description automatically generated">
            <a:extLst>
              <a:ext uri="{FF2B5EF4-FFF2-40B4-BE49-F238E27FC236}">
                <a16:creationId xmlns:a16="http://schemas.microsoft.com/office/drawing/2014/main" id="{2ED9AAEA-3731-AD3D-0F78-72016945F3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271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4614" y="1239087"/>
            <a:ext cx="7412385" cy="78483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85615" y="3772255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690637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pipes on a building&#10;&#10;Description automatically generated with medium confidence">
            <a:extLst>
              <a:ext uri="{FF2B5EF4-FFF2-40B4-BE49-F238E27FC236}">
                <a16:creationId xmlns:a16="http://schemas.microsoft.com/office/drawing/2014/main" id="{9EB74ED6-8907-4B51-479C-FDD3F66E7F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1" y="1078100"/>
            <a:ext cx="7412385" cy="78483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1" y="3042909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8152115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 descr="Top view of a wooden desk with a white keyboard, drawing plan and drawing compass, and pens.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1" y="1078100"/>
            <a:ext cx="7412385" cy="78483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1" y="3042909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42093340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755" y="4945339"/>
            <a:ext cx="4856394" cy="553998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DF6E4E97-1E5E-6DDC-51DB-51A4B672C7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8757" y="5572294"/>
            <a:ext cx="3738139" cy="408683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9901702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3994C55-28DA-03C2-35BC-75F5D854F08B}"/>
              </a:ext>
            </a:extLst>
          </p:cNvPr>
          <p:cNvSpPr/>
          <p:nvPr userDrawn="1"/>
        </p:nvSpPr>
        <p:spPr>
          <a:xfrm>
            <a:off x="1" y="1"/>
            <a:ext cx="12192001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E6505-1432-E7D8-FDE1-5E4383D36C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2544" y="0"/>
            <a:ext cx="4909457" cy="6858257"/>
          </a:xfrm>
          <a:custGeom>
            <a:avLst/>
            <a:gdLst>
              <a:gd name="connsiteX0" fmla="*/ 0 w 4401300"/>
              <a:gd name="connsiteY0" fmla="*/ 0 h 6148388"/>
              <a:gd name="connsiteX1" fmla="*/ 4401300 w 4401300"/>
              <a:gd name="connsiteY1" fmla="*/ 0 h 6148388"/>
              <a:gd name="connsiteX2" fmla="*/ 4401300 w 4401300"/>
              <a:gd name="connsiteY2" fmla="*/ 6148388 h 6148388"/>
              <a:gd name="connsiteX3" fmla="*/ 3799566 w 4401300"/>
              <a:gd name="connsiteY3" fmla="*/ 6148388 h 614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1300" h="6148388">
                <a:moveTo>
                  <a:pt x="0" y="0"/>
                </a:moveTo>
                <a:lnTo>
                  <a:pt x="4401300" y="0"/>
                </a:lnTo>
                <a:lnTo>
                  <a:pt x="4401300" y="6148388"/>
                </a:lnTo>
                <a:lnTo>
                  <a:pt x="3799566" y="6148388"/>
                </a:lnTo>
                <a:close/>
              </a:path>
            </a:pathLst>
          </a:cu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615020BA-0B93-180E-3093-EAC3BCC73B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4" y="517638"/>
            <a:ext cx="5889054" cy="410136"/>
          </a:xfrm>
          <a:prstGeom prst="rect">
            <a:avLst/>
          </a:prstGeom>
        </p:spPr>
        <p:txBody>
          <a:bodyPr/>
          <a:lstStyle>
            <a:lvl1pPr>
              <a:defRPr sz="135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algn="l"/>
            <a:r>
              <a:rPr lang="en-GB" sz="1200"/>
              <a:t>Sub-heading text here and here and here and here</a:t>
            </a:r>
            <a:endParaRPr lang="en-GB" sz="1500"/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8CE118E7-1BAE-2BED-BA49-7E01CC506DEF}"/>
              </a:ext>
            </a:extLst>
          </p:cNvPr>
          <p:cNvSpPr/>
          <p:nvPr userDrawn="1"/>
        </p:nvSpPr>
        <p:spPr>
          <a:xfrm>
            <a:off x="11521843" y="6474758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2C509C7-F64D-8D3C-E43B-BAD58331BD3D}"/>
              </a:ext>
            </a:extLst>
          </p:cNvPr>
          <p:cNvSpPr/>
          <p:nvPr userDrawn="1"/>
        </p:nvSpPr>
        <p:spPr>
          <a:xfrm>
            <a:off x="11588594" y="6534856"/>
            <a:ext cx="520704" cy="214315"/>
          </a:xfrm>
          <a:prstGeom prst="rect">
            <a:avLst/>
          </a:prstGeom>
        </p:spPr>
        <p:txBody>
          <a:bodyPr vert="horz" lIns="0" tIns="0" rIns="0" bIns="34507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675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575" b="1">
              <a:solidFill>
                <a:schemeClr val="bg1"/>
              </a:solidFill>
              <a:latin typeface="Tahoma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9A9D43-FF02-9C81-1CFC-D9B244C575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5" y="152400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6" name="Graphic 64">
            <a:extLst>
              <a:ext uri="{FF2B5EF4-FFF2-40B4-BE49-F238E27FC236}">
                <a16:creationId xmlns:a16="http://schemas.microsoft.com/office/drawing/2014/main" id="{410252B1-98B5-8714-70E8-11601AFBFE16}"/>
              </a:ext>
            </a:extLst>
          </p:cNvPr>
          <p:cNvSpPr/>
          <p:nvPr userDrawn="1"/>
        </p:nvSpPr>
        <p:spPr>
          <a:xfrm>
            <a:off x="209511" y="923681"/>
            <a:ext cx="10009520" cy="1141126"/>
          </a:xfrm>
          <a:custGeom>
            <a:avLst/>
            <a:gdLst>
              <a:gd name="connsiteX0" fmla="*/ 7482459 w 7482459"/>
              <a:gd name="connsiteY0" fmla="*/ 0 h 963549"/>
              <a:gd name="connsiteX1" fmla="*/ 439579 w 7482459"/>
              <a:gd name="connsiteY1" fmla="*/ 0 h 963549"/>
              <a:gd name="connsiteX2" fmla="*/ 399955 w 7482459"/>
              <a:gd name="connsiteY2" fmla="*/ 72009 h 963549"/>
              <a:gd name="connsiteX3" fmla="*/ 351377 w 7482459"/>
              <a:gd name="connsiteY3" fmla="*/ 72390 h 963549"/>
              <a:gd name="connsiteX4" fmla="*/ 307467 w 7482459"/>
              <a:gd name="connsiteY4" fmla="*/ 0 h 963549"/>
              <a:gd name="connsiteX5" fmla="*/ 118967 w 7482459"/>
              <a:gd name="connsiteY5" fmla="*/ 0 h 963549"/>
              <a:gd name="connsiteX6" fmla="*/ 0 w 7482459"/>
              <a:gd name="connsiteY6" fmla="*/ 199739 h 963549"/>
              <a:gd name="connsiteX7" fmla="*/ 0 w 7482459"/>
              <a:gd name="connsiteY7" fmla="*/ 342138 h 963549"/>
              <a:gd name="connsiteX8" fmla="*/ 78296 w 7482459"/>
              <a:gd name="connsiteY8" fmla="*/ 463772 h 963549"/>
              <a:gd name="connsiteX9" fmla="*/ 204216 w 7482459"/>
              <a:gd name="connsiteY9" fmla="*/ 463772 h 963549"/>
              <a:gd name="connsiteX10" fmla="*/ 219647 w 7482459"/>
              <a:gd name="connsiteY10" fmla="*/ 437007 h 963549"/>
              <a:gd name="connsiteX11" fmla="*/ 381000 w 7482459"/>
              <a:gd name="connsiteY11" fmla="*/ 437007 h 963549"/>
              <a:gd name="connsiteX12" fmla="*/ 399288 w 7482459"/>
              <a:gd name="connsiteY12" fmla="*/ 469773 h 963549"/>
              <a:gd name="connsiteX13" fmla="*/ 399288 w 7482459"/>
              <a:gd name="connsiteY13" fmla="*/ 568071 h 963549"/>
              <a:gd name="connsiteX14" fmla="*/ 434245 w 7482459"/>
              <a:gd name="connsiteY14" fmla="*/ 628841 h 963549"/>
              <a:gd name="connsiteX15" fmla="*/ 434054 w 7482459"/>
              <a:gd name="connsiteY15" fmla="*/ 693325 h 963549"/>
              <a:gd name="connsiteX16" fmla="*/ 492728 w 7482459"/>
              <a:gd name="connsiteY16" fmla="*/ 800005 h 963549"/>
              <a:gd name="connsiteX17" fmla="*/ 492728 w 7482459"/>
              <a:gd name="connsiteY17" fmla="*/ 884873 h 963549"/>
              <a:gd name="connsiteX18" fmla="*/ 559118 w 7482459"/>
              <a:gd name="connsiteY18" fmla="*/ 962978 h 963549"/>
              <a:gd name="connsiteX19" fmla="*/ 645414 w 7482459"/>
              <a:gd name="connsiteY19" fmla="*/ 963549 h 963549"/>
              <a:gd name="connsiteX20" fmla="*/ 688372 w 7482459"/>
              <a:gd name="connsiteY20" fmla="*/ 892112 h 963549"/>
              <a:gd name="connsiteX21" fmla="*/ 688372 w 7482459"/>
              <a:gd name="connsiteY21" fmla="*/ 837914 h 963549"/>
              <a:gd name="connsiteX22" fmla="*/ 784479 w 7482459"/>
              <a:gd name="connsiteY22" fmla="*/ 687229 h 963549"/>
              <a:gd name="connsiteX23" fmla="*/ 784479 w 7482459"/>
              <a:gd name="connsiteY23" fmla="*/ 586169 h 963549"/>
              <a:gd name="connsiteX24" fmla="*/ 831152 w 7482459"/>
              <a:gd name="connsiteY24" fmla="*/ 512636 h 963549"/>
              <a:gd name="connsiteX25" fmla="*/ 886968 w 7482459"/>
              <a:gd name="connsiteY25" fmla="*/ 513207 h 963549"/>
              <a:gd name="connsiteX26" fmla="*/ 979075 w 7482459"/>
              <a:gd name="connsiteY26" fmla="*/ 352139 h 963549"/>
              <a:gd name="connsiteX27" fmla="*/ 809530 w 7482459"/>
              <a:gd name="connsiteY27" fmla="*/ 352139 h 963549"/>
              <a:gd name="connsiteX28" fmla="*/ 761333 w 7482459"/>
              <a:gd name="connsiteY28" fmla="*/ 269367 h 963549"/>
              <a:gd name="connsiteX29" fmla="*/ 761429 w 7482459"/>
              <a:gd name="connsiteY29" fmla="*/ 189357 h 963549"/>
              <a:gd name="connsiteX30" fmla="*/ 681419 w 7482459"/>
              <a:gd name="connsiteY30" fmla="*/ 77438 h 963549"/>
              <a:gd name="connsiteX31" fmla="*/ 655511 w 7482459"/>
              <a:gd name="connsiteY31" fmla="*/ 77438 h 963549"/>
              <a:gd name="connsiteX32" fmla="*/ 487299 w 7482459"/>
              <a:gd name="connsiteY32" fmla="*/ 77438 h 963549"/>
              <a:gd name="connsiteX33" fmla="*/ 443293 w 7482459"/>
              <a:gd name="connsiteY33" fmla="*/ 153448 h 963549"/>
              <a:gd name="connsiteX34" fmla="*/ 316421 w 7482459"/>
              <a:gd name="connsiteY34" fmla="*/ 153448 h 963549"/>
              <a:gd name="connsiteX35" fmla="*/ 265843 w 7482459"/>
              <a:gd name="connsiteY35" fmla="*/ 67056 h 963549"/>
              <a:gd name="connsiteX36" fmla="*/ 159639 w 7482459"/>
              <a:gd name="connsiteY36" fmla="*/ 67056 h 963549"/>
              <a:gd name="connsiteX37" fmla="*/ 71914 w 7482459"/>
              <a:gd name="connsiteY37" fmla="*/ 225457 h 963549"/>
              <a:gd name="connsiteX38" fmla="*/ 71914 w 7482459"/>
              <a:gd name="connsiteY38" fmla="*/ 311753 h 963549"/>
              <a:gd name="connsiteX39" fmla="*/ 121825 w 7482459"/>
              <a:gd name="connsiteY39" fmla="*/ 393192 h 963549"/>
              <a:gd name="connsiteX40" fmla="*/ 160687 w 7482459"/>
              <a:gd name="connsiteY40" fmla="*/ 393192 h 963549"/>
              <a:gd name="connsiteX41" fmla="*/ 173260 w 7482459"/>
              <a:gd name="connsiteY41" fmla="*/ 370332 h 963549"/>
              <a:gd name="connsiteX42" fmla="*/ 416433 w 7482459"/>
              <a:gd name="connsiteY42" fmla="*/ 370332 h 963549"/>
              <a:gd name="connsiteX43" fmla="*/ 465392 w 7482459"/>
              <a:gd name="connsiteY43" fmla="*/ 455676 h 963549"/>
              <a:gd name="connsiteX44" fmla="*/ 465392 w 7482459"/>
              <a:gd name="connsiteY44" fmla="*/ 556736 h 963549"/>
              <a:gd name="connsiteX45" fmla="*/ 500443 w 7482459"/>
              <a:gd name="connsiteY45" fmla="*/ 616839 h 963549"/>
              <a:gd name="connsiteX46" fmla="*/ 500443 w 7482459"/>
              <a:gd name="connsiteY46" fmla="*/ 678275 h 963549"/>
              <a:gd name="connsiteX47" fmla="*/ 563309 w 7482459"/>
              <a:gd name="connsiteY47" fmla="*/ 783527 h 963549"/>
              <a:gd name="connsiteX48" fmla="*/ 563309 w 7482459"/>
              <a:gd name="connsiteY48" fmla="*/ 847344 h 963549"/>
              <a:gd name="connsiteX49" fmla="*/ 594932 w 7482459"/>
              <a:gd name="connsiteY49" fmla="*/ 888492 h 963549"/>
              <a:gd name="connsiteX50" fmla="*/ 609124 w 7482459"/>
              <a:gd name="connsiteY50" fmla="*/ 888492 h 963549"/>
              <a:gd name="connsiteX51" fmla="*/ 628460 w 7482459"/>
              <a:gd name="connsiteY51" fmla="*/ 856488 h 963549"/>
              <a:gd name="connsiteX52" fmla="*/ 628460 w 7482459"/>
              <a:gd name="connsiteY52" fmla="*/ 810292 h 963549"/>
              <a:gd name="connsiteX53" fmla="*/ 717899 w 7482459"/>
              <a:gd name="connsiteY53" fmla="*/ 667226 h 963549"/>
              <a:gd name="connsiteX54" fmla="*/ 718566 w 7482459"/>
              <a:gd name="connsiteY54" fmla="*/ 556165 h 963549"/>
              <a:gd name="connsiteX55" fmla="*/ 790956 w 7482459"/>
              <a:gd name="connsiteY55" fmla="*/ 448056 h 963549"/>
              <a:gd name="connsiteX56" fmla="*/ 843725 w 7482459"/>
              <a:gd name="connsiteY56" fmla="*/ 447770 h 963549"/>
              <a:gd name="connsiteX57" fmla="*/ 861060 w 7482459"/>
              <a:gd name="connsiteY57" fmla="*/ 419957 h 963549"/>
              <a:gd name="connsiteX58" fmla="*/ 767239 w 7482459"/>
              <a:gd name="connsiteY58" fmla="*/ 419957 h 963549"/>
              <a:gd name="connsiteX59" fmla="*/ 691229 w 7482459"/>
              <a:gd name="connsiteY59" fmla="*/ 291370 h 963549"/>
              <a:gd name="connsiteX60" fmla="*/ 689229 w 7482459"/>
              <a:gd name="connsiteY60" fmla="*/ 210407 h 963549"/>
              <a:gd name="connsiteX61" fmla="*/ 640271 w 7482459"/>
              <a:gd name="connsiteY61" fmla="*/ 144399 h 963549"/>
              <a:gd name="connsiteX62" fmla="*/ 532352 w 7482459"/>
              <a:gd name="connsiteY62" fmla="*/ 143447 h 963549"/>
              <a:gd name="connsiteX63" fmla="*/ 483108 w 7482459"/>
              <a:gd name="connsiteY63" fmla="*/ 228410 h 963549"/>
              <a:gd name="connsiteX64" fmla="*/ 271082 w 7482459"/>
              <a:gd name="connsiteY64" fmla="*/ 228410 h 963549"/>
              <a:gd name="connsiteX65" fmla="*/ 227743 w 7482459"/>
              <a:gd name="connsiteY65" fmla="*/ 156782 h 963549"/>
              <a:gd name="connsiteX66" fmla="*/ 200216 w 7482459"/>
              <a:gd name="connsiteY66" fmla="*/ 156782 h 963549"/>
              <a:gd name="connsiteX67" fmla="*/ 152019 w 7482459"/>
              <a:gd name="connsiteY67" fmla="*/ 248126 h 963549"/>
              <a:gd name="connsiteX68" fmla="*/ 150781 w 7482459"/>
              <a:gd name="connsiteY68" fmla="*/ 298990 h 963549"/>
              <a:gd name="connsiteX69" fmla="*/ 153638 w 7482459"/>
              <a:gd name="connsiteY69" fmla="*/ 303562 h 963549"/>
              <a:gd name="connsiteX70" fmla="*/ 157353 w 7482459"/>
              <a:gd name="connsiteY70" fmla="*/ 303467 h 963549"/>
              <a:gd name="connsiteX71" fmla="*/ 161068 w 7482459"/>
              <a:gd name="connsiteY71" fmla="*/ 298990 h 963549"/>
              <a:gd name="connsiteX72" fmla="*/ 525304 w 7482459"/>
              <a:gd name="connsiteY72" fmla="*/ 299180 h 963549"/>
              <a:gd name="connsiteX73" fmla="*/ 578739 w 7482459"/>
              <a:gd name="connsiteY73" fmla="*/ 213741 h 963549"/>
              <a:gd name="connsiteX74" fmla="*/ 607314 w 7482459"/>
              <a:gd name="connsiteY74" fmla="*/ 213741 h 963549"/>
              <a:gd name="connsiteX75" fmla="*/ 629317 w 7482459"/>
              <a:gd name="connsiteY75" fmla="*/ 242697 h 963549"/>
              <a:gd name="connsiteX76" fmla="*/ 629317 w 7482459"/>
              <a:gd name="connsiteY76" fmla="*/ 322326 h 963549"/>
              <a:gd name="connsiteX77" fmla="*/ 704945 w 7482459"/>
              <a:gd name="connsiteY77" fmla="*/ 449294 h 963549"/>
              <a:gd name="connsiteX78" fmla="*/ 648938 w 7482459"/>
              <a:gd name="connsiteY78" fmla="*/ 533400 h 963549"/>
              <a:gd name="connsiteX79" fmla="*/ 647510 w 7482459"/>
              <a:gd name="connsiteY79" fmla="*/ 650558 h 963549"/>
              <a:gd name="connsiteX80" fmla="*/ 603409 w 7482459"/>
              <a:gd name="connsiteY80" fmla="*/ 716852 h 963549"/>
              <a:gd name="connsiteX81" fmla="*/ 563404 w 7482459"/>
              <a:gd name="connsiteY81" fmla="*/ 649700 h 963549"/>
              <a:gd name="connsiteX82" fmla="*/ 563404 w 7482459"/>
              <a:gd name="connsiteY82" fmla="*/ 578644 h 963549"/>
              <a:gd name="connsiteX83" fmla="*/ 537496 w 7482459"/>
              <a:gd name="connsiteY83" fmla="*/ 536258 h 963549"/>
              <a:gd name="connsiteX84" fmla="*/ 537496 w 7482459"/>
              <a:gd name="connsiteY84" fmla="*/ 436721 h 963549"/>
              <a:gd name="connsiteX85" fmla="*/ 498824 w 7482459"/>
              <a:gd name="connsiteY85" fmla="*/ 368999 h 963549"/>
              <a:gd name="connsiteX86" fmla="*/ 581120 w 7482459"/>
              <a:gd name="connsiteY86" fmla="*/ 368999 h 963549"/>
              <a:gd name="connsiteX87" fmla="*/ 627698 w 7482459"/>
              <a:gd name="connsiteY87" fmla="*/ 443579 h 963549"/>
              <a:gd name="connsiteX88" fmla="*/ 592550 w 7482459"/>
              <a:gd name="connsiteY88" fmla="*/ 496729 h 963549"/>
              <a:gd name="connsiteX0" fmla="*/ 8451880 w 8451880"/>
              <a:gd name="connsiteY0" fmla="*/ 0 h 963549"/>
              <a:gd name="connsiteX1" fmla="*/ 439579 w 8451880"/>
              <a:gd name="connsiteY1" fmla="*/ 0 h 963549"/>
              <a:gd name="connsiteX2" fmla="*/ 399955 w 8451880"/>
              <a:gd name="connsiteY2" fmla="*/ 72009 h 963549"/>
              <a:gd name="connsiteX3" fmla="*/ 351377 w 8451880"/>
              <a:gd name="connsiteY3" fmla="*/ 72390 h 963549"/>
              <a:gd name="connsiteX4" fmla="*/ 307467 w 8451880"/>
              <a:gd name="connsiteY4" fmla="*/ 0 h 963549"/>
              <a:gd name="connsiteX5" fmla="*/ 118967 w 8451880"/>
              <a:gd name="connsiteY5" fmla="*/ 0 h 963549"/>
              <a:gd name="connsiteX6" fmla="*/ 0 w 8451880"/>
              <a:gd name="connsiteY6" fmla="*/ 199739 h 963549"/>
              <a:gd name="connsiteX7" fmla="*/ 0 w 8451880"/>
              <a:gd name="connsiteY7" fmla="*/ 342138 h 963549"/>
              <a:gd name="connsiteX8" fmla="*/ 78296 w 8451880"/>
              <a:gd name="connsiteY8" fmla="*/ 463772 h 963549"/>
              <a:gd name="connsiteX9" fmla="*/ 204216 w 8451880"/>
              <a:gd name="connsiteY9" fmla="*/ 463772 h 963549"/>
              <a:gd name="connsiteX10" fmla="*/ 219647 w 8451880"/>
              <a:gd name="connsiteY10" fmla="*/ 437007 h 963549"/>
              <a:gd name="connsiteX11" fmla="*/ 381000 w 8451880"/>
              <a:gd name="connsiteY11" fmla="*/ 437007 h 963549"/>
              <a:gd name="connsiteX12" fmla="*/ 399288 w 8451880"/>
              <a:gd name="connsiteY12" fmla="*/ 469773 h 963549"/>
              <a:gd name="connsiteX13" fmla="*/ 399288 w 8451880"/>
              <a:gd name="connsiteY13" fmla="*/ 568071 h 963549"/>
              <a:gd name="connsiteX14" fmla="*/ 434245 w 8451880"/>
              <a:gd name="connsiteY14" fmla="*/ 628841 h 963549"/>
              <a:gd name="connsiteX15" fmla="*/ 434054 w 8451880"/>
              <a:gd name="connsiteY15" fmla="*/ 693325 h 963549"/>
              <a:gd name="connsiteX16" fmla="*/ 492728 w 8451880"/>
              <a:gd name="connsiteY16" fmla="*/ 800005 h 963549"/>
              <a:gd name="connsiteX17" fmla="*/ 492728 w 8451880"/>
              <a:gd name="connsiteY17" fmla="*/ 884873 h 963549"/>
              <a:gd name="connsiteX18" fmla="*/ 559118 w 8451880"/>
              <a:gd name="connsiteY18" fmla="*/ 962978 h 963549"/>
              <a:gd name="connsiteX19" fmla="*/ 645414 w 8451880"/>
              <a:gd name="connsiteY19" fmla="*/ 963549 h 963549"/>
              <a:gd name="connsiteX20" fmla="*/ 688372 w 8451880"/>
              <a:gd name="connsiteY20" fmla="*/ 892112 h 963549"/>
              <a:gd name="connsiteX21" fmla="*/ 688372 w 8451880"/>
              <a:gd name="connsiteY21" fmla="*/ 837914 h 963549"/>
              <a:gd name="connsiteX22" fmla="*/ 784479 w 8451880"/>
              <a:gd name="connsiteY22" fmla="*/ 687229 h 963549"/>
              <a:gd name="connsiteX23" fmla="*/ 784479 w 8451880"/>
              <a:gd name="connsiteY23" fmla="*/ 586169 h 963549"/>
              <a:gd name="connsiteX24" fmla="*/ 831152 w 8451880"/>
              <a:gd name="connsiteY24" fmla="*/ 512636 h 963549"/>
              <a:gd name="connsiteX25" fmla="*/ 886968 w 8451880"/>
              <a:gd name="connsiteY25" fmla="*/ 513207 h 963549"/>
              <a:gd name="connsiteX26" fmla="*/ 979075 w 8451880"/>
              <a:gd name="connsiteY26" fmla="*/ 352139 h 963549"/>
              <a:gd name="connsiteX27" fmla="*/ 809530 w 8451880"/>
              <a:gd name="connsiteY27" fmla="*/ 352139 h 963549"/>
              <a:gd name="connsiteX28" fmla="*/ 761333 w 8451880"/>
              <a:gd name="connsiteY28" fmla="*/ 269367 h 963549"/>
              <a:gd name="connsiteX29" fmla="*/ 761429 w 8451880"/>
              <a:gd name="connsiteY29" fmla="*/ 189357 h 963549"/>
              <a:gd name="connsiteX30" fmla="*/ 681419 w 8451880"/>
              <a:gd name="connsiteY30" fmla="*/ 77438 h 963549"/>
              <a:gd name="connsiteX31" fmla="*/ 655511 w 8451880"/>
              <a:gd name="connsiteY31" fmla="*/ 77438 h 963549"/>
              <a:gd name="connsiteX32" fmla="*/ 487299 w 8451880"/>
              <a:gd name="connsiteY32" fmla="*/ 77438 h 963549"/>
              <a:gd name="connsiteX33" fmla="*/ 443293 w 8451880"/>
              <a:gd name="connsiteY33" fmla="*/ 153448 h 963549"/>
              <a:gd name="connsiteX34" fmla="*/ 316421 w 8451880"/>
              <a:gd name="connsiteY34" fmla="*/ 153448 h 963549"/>
              <a:gd name="connsiteX35" fmla="*/ 265843 w 8451880"/>
              <a:gd name="connsiteY35" fmla="*/ 67056 h 963549"/>
              <a:gd name="connsiteX36" fmla="*/ 159639 w 8451880"/>
              <a:gd name="connsiteY36" fmla="*/ 67056 h 963549"/>
              <a:gd name="connsiteX37" fmla="*/ 71914 w 8451880"/>
              <a:gd name="connsiteY37" fmla="*/ 225457 h 963549"/>
              <a:gd name="connsiteX38" fmla="*/ 71914 w 8451880"/>
              <a:gd name="connsiteY38" fmla="*/ 311753 h 963549"/>
              <a:gd name="connsiteX39" fmla="*/ 121825 w 8451880"/>
              <a:gd name="connsiteY39" fmla="*/ 393192 h 963549"/>
              <a:gd name="connsiteX40" fmla="*/ 160687 w 8451880"/>
              <a:gd name="connsiteY40" fmla="*/ 393192 h 963549"/>
              <a:gd name="connsiteX41" fmla="*/ 173260 w 8451880"/>
              <a:gd name="connsiteY41" fmla="*/ 370332 h 963549"/>
              <a:gd name="connsiteX42" fmla="*/ 416433 w 8451880"/>
              <a:gd name="connsiteY42" fmla="*/ 370332 h 963549"/>
              <a:gd name="connsiteX43" fmla="*/ 465392 w 8451880"/>
              <a:gd name="connsiteY43" fmla="*/ 455676 h 963549"/>
              <a:gd name="connsiteX44" fmla="*/ 465392 w 8451880"/>
              <a:gd name="connsiteY44" fmla="*/ 556736 h 963549"/>
              <a:gd name="connsiteX45" fmla="*/ 500443 w 8451880"/>
              <a:gd name="connsiteY45" fmla="*/ 616839 h 963549"/>
              <a:gd name="connsiteX46" fmla="*/ 500443 w 8451880"/>
              <a:gd name="connsiteY46" fmla="*/ 678275 h 963549"/>
              <a:gd name="connsiteX47" fmla="*/ 563309 w 8451880"/>
              <a:gd name="connsiteY47" fmla="*/ 783527 h 963549"/>
              <a:gd name="connsiteX48" fmla="*/ 563309 w 8451880"/>
              <a:gd name="connsiteY48" fmla="*/ 847344 h 963549"/>
              <a:gd name="connsiteX49" fmla="*/ 594932 w 8451880"/>
              <a:gd name="connsiteY49" fmla="*/ 888492 h 963549"/>
              <a:gd name="connsiteX50" fmla="*/ 609124 w 8451880"/>
              <a:gd name="connsiteY50" fmla="*/ 888492 h 963549"/>
              <a:gd name="connsiteX51" fmla="*/ 628460 w 8451880"/>
              <a:gd name="connsiteY51" fmla="*/ 856488 h 963549"/>
              <a:gd name="connsiteX52" fmla="*/ 628460 w 8451880"/>
              <a:gd name="connsiteY52" fmla="*/ 810292 h 963549"/>
              <a:gd name="connsiteX53" fmla="*/ 717899 w 8451880"/>
              <a:gd name="connsiteY53" fmla="*/ 667226 h 963549"/>
              <a:gd name="connsiteX54" fmla="*/ 718566 w 8451880"/>
              <a:gd name="connsiteY54" fmla="*/ 556165 h 963549"/>
              <a:gd name="connsiteX55" fmla="*/ 790956 w 8451880"/>
              <a:gd name="connsiteY55" fmla="*/ 448056 h 963549"/>
              <a:gd name="connsiteX56" fmla="*/ 843725 w 8451880"/>
              <a:gd name="connsiteY56" fmla="*/ 447770 h 963549"/>
              <a:gd name="connsiteX57" fmla="*/ 861060 w 8451880"/>
              <a:gd name="connsiteY57" fmla="*/ 419957 h 963549"/>
              <a:gd name="connsiteX58" fmla="*/ 767239 w 8451880"/>
              <a:gd name="connsiteY58" fmla="*/ 419957 h 963549"/>
              <a:gd name="connsiteX59" fmla="*/ 691229 w 8451880"/>
              <a:gd name="connsiteY59" fmla="*/ 291370 h 963549"/>
              <a:gd name="connsiteX60" fmla="*/ 689229 w 8451880"/>
              <a:gd name="connsiteY60" fmla="*/ 210407 h 963549"/>
              <a:gd name="connsiteX61" fmla="*/ 640271 w 8451880"/>
              <a:gd name="connsiteY61" fmla="*/ 144399 h 963549"/>
              <a:gd name="connsiteX62" fmla="*/ 532352 w 8451880"/>
              <a:gd name="connsiteY62" fmla="*/ 143447 h 963549"/>
              <a:gd name="connsiteX63" fmla="*/ 483108 w 8451880"/>
              <a:gd name="connsiteY63" fmla="*/ 228410 h 963549"/>
              <a:gd name="connsiteX64" fmla="*/ 271082 w 8451880"/>
              <a:gd name="connsiteY64" fmla="*/ 228410 h 963549"/>
              <a:gd name="connsiteX65" fmla="*/ 227743 w 8451880"/>
              <a:gd name="connsiteY65" fmla="*/ 156782 h 963549"/>
              <a:gd name="connsiteX66" fmla="*/ 200216 w 8451880"/>
              <a:gd name="connsiteY66" fmla="*/ 156782 h 963549"/>
              <a:gd name="connsiteX67" fmla="*/ 152019 w 8451880"/>
              <a:gd name="connsiteY67" fmla="*/ 248126 h 963549"/>
              <a:gd name="connsiteX68" fmla="*/ 150781 w 8451880"/>
              <a:gd name="connsiteY68" fmla="*/ 298990 h 963549"/>
              <a:gd name="connsiteX69" fmla="*/ 153638 w 8451880"/>
              <a:gd name="connsiteY69" fmla="*/ 303562 h 963549"/>
              <a:gd name="connsiteX70" fmla="*/ 157353 w 8451880"/>
              <a:gd name="connsiteY70" fmla="*/ 303467 h 963549"/>
              <a:gd name="connsiteX71" fmla="*/ 161068 w 8451880"/>
              <a:gd name="connsiteY71" fmla="*/ 298990 h 963549"/>
              <a:gd name="connsiteX72" fmla="*/ 525304 w 8451880"/>
              <a:gd name="connsiteY72" fmla="*/ 299180 h 963549"/>
              <a:gd name="connsiteX73" fmla="*/ 578739 w 8451880"/>
              <a:gd name="connsiteY73" fmla="*/ 213741 h 963549"/>
              <a:gd name="connsiteX74" fmla="*/ 607314 w 8451880"/>
              <a:gd name="connsiteY74" fmla="*/ 213741 h 963549"/>
              <a:gd name="connsiteX75" fmla="*/ 629317 w 8451880"/>
              <a:gd name="connsiteY75" fmla="*/ 242697 h 963549"/>
              <a:gd name="connsiteX76" fmla="*/ 629317 w 8451880"/>
              <a:gd name="connsiteY76" fmla="*/ 322326 h 963549"/>
              <a:gd name="connsiteX77" fmla="*/ 704945 w 8451880"/>
              <a:gd name="connsiteY77" fmla="*/ 449294 h 963549"/>
              <a:gd name="connsiteX78" fmla="*/ 648938 w 8451880"/>
              <a:gd name="connsiteY78" fmla="*/ 533400 h 963549"/>
              <a:gd name="connsiteX79" fmla="*/ 647510 w 8451880"/>
              <a:gd name="connsiteY79" fmla="*/ 650558 h 963549"/>
              <a:gd name="connsiteX80" fmla="*/ 603409 w 8451880"/>
              <a:gd name="connsiteY80" fmla="*/ 716852 h 963549"/>
              <a:gd name="connsiteX81" fmla="*/ 563404 w 8451880"/>
              <a:gd name="connsiteY81" fmla="*/ 649700 h 963549"/>
              <a:gd name="connsiteX82" fmla="*/ 563404 w 8451880"/>
              <a:gd name="connsiteY82" fmla="*/ 578644 h 963549"/>
              <a:gd name="connsiteX83" fmla="*/ 537496 w 8451880"/>
              <a:gd name="connsiteY83" fmla="*/ 536258 h 963549"/>
              <a:gd name="connsiteX84" fmla="*/ 537496 w 8451880"/>
              <a:gd name="connsiteY84" fmla="*/ 436721 h 963549"/>
              <a:gd name="connsiteX85" fmla="*/ 498824 w 8451880"/>
              <a:gd name="connsiteY85" fmla="*/ 368999 h 963549"/>
              <a:gd name="connsiteX86" fmla="*/ 581120 w 8451880"/>
              <a:gd name="connsiteY86" fmla="*/ 368999 h 963549"/>
              <a:gd name="connsiteX87" fmla="*/ 627698 w 8451880"/>
              <a:gd name="connsiteY87" fmla="*/ 443579 h 963549"/>
              <a:gd name="connsiteX88" fmla="*/ 592550 w 8451880"/>
              <a:gd name="connsiteY88" fmla="*/ 496729 h 9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8451880" h="963549">
                <a:moveTo>
                  <a:pt x="8451880" y="0"/>
                </a:moveTo>
                <a:lnTo>
                  <a:pt x="439579" y="0"/>
                </a:lnTo>
                <a:lnTo>
                  <a:pt x="399955" y="72009"/>
                </a:lnTo>
                <a:lnTo>
                  <a:pt x="351377" y="72390"/>
                </a:lnTo>
                <a:lnTo>
                  <a:pt x="307467" y="0"/>
                </a:lnTo>
                <a:lnTo>
                  <a:pt x="118967" y="0"/>
                </a:lnTo>
                <a:lnTo>
                  <a:pt x="0" y="199739"/>
                </a:lnTo>
                <a:lnTo>
                  <a:pt x="0" y="342138"/>
                </a:lnTo>
                <a:lnTo>
                  <a:pt x="78296" y="463772"/>
                </a:lnTo>
                <a:lnTo>
                  <a:pt x="204216" y="463772"/>
                </a:lnTo>
                <a:lnTo>
                  <a:pt x="219647" y="437007"/>
                </a:lnTo>
                <a:lnTo>
                  <a:pt x="381000" y="437007"/>
                </a:lnTo>
                <a:lnTo>
                  <a:pt x="399288" y="469773"/>
                </a:lnTo>
                <a:lnTo>
                  <a:pt x="399288" y="568071"/>
                </a:lnTo>
                <a:lnTo>
                  <a:pt x="434245" y="628841"/>
                </a:lnTo>
                <a:cubicBezTo>
                  <a:pt x="434181" y="650336"/>
                  <a:pt x="434118" y="671830"/>
                  <a:pt x="434054" y="693325"/>
                </a:cubicBezTo>
                <a:lnTo>
                  <a:pt x="492728" y="800005"/>
                </a:lnTo>
                <a:lnTo>
                  <a:pt x="492728" y="884873"/>
                </a:lnTo>
                <a:lnTo>
                  <a:pt x="559118" y="962978"/>
                </a:lnTo>
                <a:lnTo>
                  <a:pt x="645414" y="963549"/>
                </a:lnTo>
                <a:lnTo>
                  <a:pt x="688372" y="892112"/>
                </a:lnTo>
                <a:lnTo>
                  <a:pt x="688372" y="837914"/>
                </a:lnTo>
                <a:lnTo>
                  <a:pt x="784479" y="687229"/>
                </a:lnTo>
                <a:lnTo>
                  <a:pt x="784479" y="586169"/>
                </a:lnTo>
                <a:lnTo>
                  <a:pt x="831152" y="512636"/>
                </a:lnTo>
                <a:lnTo>
                  <a:pt x="886968" y="513207"/>
                </a:lnTo>
                <a:lnTo>
                  <a:pt x="979075" y="352139"/>
                </a:lnTo>
                <a:lnTo>
                  <a:pt x="809530" y="352139"/>
                </a:lnTo>
                <a:lnTo>
                  <a:pt x="761333" y="269367"/>
                </a:lnTo>
                <a:lnTo>
                  <a:pt x="761429" y="189357"/>
                </a:lnTo>
                <a:lnTo>
                  <a:pt x="681419" y="77438"/>
                </a:lnTo>
                <a:lnTo>
                  <a:pt x="655511" y="77438"/>
                </a:lnTo>
                <a:lnTo>
                  <a:pt x="487299" y="77438"/>
                </a:lnTo>
                <a:lnTo>
                  <a:pt x="443293" y="153448"/>
                </a:lnTo>
                <a:lnTo>
                  <a:pt x="316421" y="153448"/>
                </a:lnTo>
                <a:lnTo>
                  <a:pt x="265843" y="67056"/>
                </a:lnTo>
                <a:lnTo>
                  <a:pt x="159639" y="67056"/>
                </a:lnTo>
                <a:lnTo>
                  <a:pt x="71914" y="225457"/>
                </a:lnTo>
                <a:lnTo>
                  <a:pt x="71914" y="311753"/>
                </a:lnTo>
                <a:lnTo>
                  <a:pt x="121825" y="393192"/>
                </a:lnTo>
                <a:lnTo>
                  <a:pt x="160687" y="393192"/>
                </a:lnTo>
                <a:lnTo>
                  <a:pt x="173260" y="370332"/>
                </a:lnTo>
                <a:lnTo>
                  <a:pt x="416433" y="370332"/>
                </a:lnTo>
                <a:lnTo>
                  <a:pt x="465392" y="455676"/>
                </a:lnTo>
                <a:lnTo>
                  <a:pt x="465392" y="556736"/>
                </a:lnTo>
                <a:lnTo>
                  <a:pt x="500443" y="616839"/>
                </a:lnTo>
                <a:lnTo>
                  <a:pt x="500443" y="678275"/>
                </a:lnTo>
                <a:lnTo>
                  <a:pt x="563309" y="783527"/>
                </a:lnTo>
                <a:lnTo>
                  <a:pt x="563309" y="847344"/>
                </a:lnTo>
                <a:lnTo>
                  <a:pt x="594932" y="888492"/>
                </a:lnTo>
                <a:lnTo>
                  <a:pt x="609124" y="888492"/>
                </a:lnTo>
                <a:lnTo>
                  <a:pt x="628460" y="856488"/>
                </a:lnTo>
                <a:lnTo>
                  <a:pt x="628460" y="810292"/>
                </a:lnTo>
                <a:lnTo>
                  <a:pt x="717899" y="667226"/>
                </a:lnTo>
                <a:cubicBezTo>
                  <a:pt x="718121" y="630206"/>
                  <a:pt x="718344" y="593185"/>
                  <a:pt x="718566" y="556165"/>
                </a:cubicBezTo>
                <a:lnTo>
                  <a:pt x="790956" y="448056"/>
                </a:lnTo>
                <a:lnTo>
                  <a:pt x="843725" y="447770"/>
                </a:lnTo>
                <a:lnTo>
                  <a:pt x="861060" y="419957"/>
                </a:lnTo>
                <a:lnTo>
                  <a:pt x="767239" y="419957"/>
                </a:lnTo>
                <a:lnTo>
                  <a:pt x="691229" y="291370"/>
                </a:lnTo>
                <a:cubicBezTo>
                  <a:pt x="690562" y="264382"/>
                  <a:pt x="689896" y="237395"/>
                  <a:pt x="689229" y="210407"/>
                </a:cubicBezTo>
                <a:lnTo>
                  <a:pt x="640271" y="144399"/>
                </a:lnTo>
                <a:lnTo>
                  <a:pt x="532352" y="143447"/>
                </a:lnTo>
                <a:lnTo>
                  <a:pt x="483108" y="228410"/>
                </a:lnTo>
                <a:lnTo>
                  <a:pt x="271082" y="228410"/>
                </a:lnTo>
                <a:lnTo>
                  <a:pt x="227743" y="156782"/>
                </a:lnTo>
                <a:lnTo>
                  <a:pt x="200216" y="156782"/>
                </a:lnTo>
                <a:lnTo>
                  <a:pt x="152019" y="248126"/>
                </a:lnTo>
                <a:cubicBezTo>
                  <a:pt x="151606" y="265081"/>
                  <a:pt x="151194" y="282035"/>
                  <a:pt x="150781" y="298990"/>
                </a:cubicBezTo>
                <a:lnTo>
                  <a:pt x="153638" y="303562"/>
                </a:lnTo>
                <a:lnTo>
                  <a:pt x="157353" y="303467"/>
                </a:lnTo>
                <a:lnTo>
                  <a:pt x="161068" y="298990"/>
                </a:lnTo>
                <a:lnTo>
                  <a:pt x="525304" y="299180"/>
                </a:lnTo>
                <a:lnTo>
                  <a:pt x="578739" y="213741"/>
                </a:lnTo>
                <a:lnTo>
                  <a:pt x="607314" y="213741"/>
                </a:lnTo>
                <a:lnTo>
                  <a:pt x="629317" y="242697"/>
                </a:lnTo>
                <a:lnTo>
                  <a:pt x="629317" y="322326"/>
                </a:lnTo>
                <a:lnTo>
                  <a:pt x="704945" y="449294"/>
                </a:lnTo>
                <a:lnTo>
                  <a:pt x="648938" y="533400"/>
                </a:lnTo>
                <a:lnTo>
                  <a:pt x="647510" y="650558"/>
                </a:lnTo>
                <a:lnTo>
                  <a:pt x="603409" y="716852"/>
                </a:lnTo>
                <a:lnTo>
                  <a:pt x="563404" y="649700"/>
                </a:lnTo>
                <a:lnTo>
                  <a:pt x="563404" y="578644"/>
                </a:lnTo>
                <a:lnTo>
                  <a:pt x="537496" y="536258"/>
                </a:lnTo>
                <a:lnTo>
                  <a:pt x="537496" y="436721"/>
                </a:lnTo>
                <a:lnTo>
                  <a:pt x="498824" y="368999"/>
                </a:lnTo>
                <a:lnTo>
                  <a:pt x="581120" y="368999"/>
                </a:lnTo>
                <a:lnTo>
                  <a:pt x="627698" y="443579"/>
                </a:lnTo>
                <a:lnTo>
                  <a:pt x="592550" y="496729"/>
                </a:lnTo>
              </a:path>
            </a:pathLst>
          </a:custGeom>
          <a:noFill/>
          <a:ln w="7144" cap="flat">
            <a:solidFill>
              <a:srgbClr val="E63C2B"/>
            </a:solidFill>
            <a:prstDash val="solid"/>
            <a:miter/>
          </a:ln>
        </p:spPr>
        <p:txBody>
          <a:bodyPr rtlCol="0" anchor="ctr"/>
          <a:lstStyle/>
          <a:p>
            <a:endParaRPr lang="en-US" sz="825"/>
          </a:p>
        </p:txBody>
      </p:sp>
    </p:spTree>
    <p:extLst>
      <p:ext uri="{BB962C8B-B14F-4D97-AF65-F5344CB8AC3E}">
        <p14:creationId xmlns:p14="http://schemas.microsoft.com/office/powerpoint/2010/main" val="1961517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C4A12B0-5BA2-5100-AAD4-E12E3C1737AF}"/>
              </a:ext>
            </a:extLst>
          </p:cNvPr>
          <p:cNvSpPr/>
          <p:nvPr userDrawn="1"/>
        </p:nvSpPr>
        <p:spPr>
          <a:xfrm>
            <a:off x="1" y="1"/>
            <a:ext cx="12192001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29B7C479-2D3F-2960-139A-D5BB63A41E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2544" y="0"/>
            <a:ext cx="4909457" cy="6858257"/>
          </a:xfrm>
          <a:custGeom>
            <a:avLst/>
            <a:gdLst>
              <a:gd name="connsiteX0" fmla="*/ 0 w 4401300"/>
              <a:gd name="connsiteY0" fmla="*/ 0 h 6148388"/>
              <a:gd name="connsiteX1" fmla="*/ 4401300 w 4401300"/>
              <a:gd name="connsiteY1" fmla="*/ 0 h 6148388"/>
              <a:gd name="connsiteX2" fmla="*/ 4401300 w 4401300"/>
              <a:gd name="connsiteY2" fmla="*/ 6148388 h 6148388"/>
              <a:gd name="connsiteX3" fmla="*/ 3799566 w 4401300"/>
              <a:gd name="connsiteY3" fmla="*/ 6148388 h 614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1300" h="6148388">
                <a:moveTo>
                  <a:pt x="0" y="0"/>
                </a:moveTo>
                <a:lnTo>
                  <a:pt x="4401300" y="0"/>
                </a:lnTo>
                <a:lnTo>
                  <a:pt x="4401300" y="6148388"/>
                </a:lnTo>
                <a:lnTo>
                  <a:pt x="3799566" y="6148388"/>
                </a:lnTo>
                <a:close/>
              </a:path>
            </a:pathLst>
          </a:cu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FD2AA106-02DD-9456-5F7D-D1D25492CDB8}"/>
              </a:ext>
            </a:extLst>
          </p:cNvPr>
          <p:cNvSpPr/>
          <p:nvPr userDrawn="1"/>
        </p:nvSpPr>
        <p:spPr>
          <a:xfrm>
            <a:off x="11521843" y="6474758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D950A5-2828-221A-996F-175C05E4BB43}"/>
              </a:ext>
            </a:extLst>
          </p:cNvPr>
          <p:cNvSpPr/>
          <p:nvPr userDrawn="1"/>
        </p:nvSpPr>
        <p:spPr>
          <a:xfrm>
            <a:off x="11588594" y="6534856"/>
            <a:ext cx="520704" cy="214315"/>
          </a:xfrm>
          <a:prstGeom prst="rect">
            <a:avLst/>
          </a:prstGeom>
        </p:spPr>
        <p:txBody>
          <a:bodyPr vert="horz" lIns="0" tIns="0" rIns="0" bIns="34507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675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575" b="1">
              <a:solidFill>
                <a:schemeClr val="bg1"/>
              </a:solidFill>
              <a:latin typeface="Tahoma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470FF30-5A43-9A43-5905-5F595AC73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796" y="2844801"/>
            <a:ext cx="6212351" cy="4101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0A8EDC15-9113-2840-B13A-8731DFA92A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3794" y="3548530"/>
            <a:ext cx="5889054" cy="410136"/>
          </a:xfrm>
          <a:prstGeom prst="rect">
            <a:avLst/>
          </a:prstGeom>
        </p:spPr>
        <p:txBody>
          <a:bodyPr wrap="none"/>
          <a:lstStyle>
            <a:lvl1pPr>
              <a:defRPr sz="12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algn="l"/>
            <a:r>
              <a:rPr lang="en-GB" sz="1200"/>
              <a:t>Sub-heading text here and here and here and here</a:t>
            </a:r>
            <a:endParaRPr lang="en-GB" sz="1500"/>
          </a:p>
        </p:txBody>
      </p:sp>
    </p:spTree>
    <p:extLst>
      <p:ext uri="{BB962C8B-B14F-4D97-AF65-F5344CB8AC3E}">
        <p14:creationId xmlns:p14="http://schemas.microsoft.com/office/powerpoint/2010/main" val="12575367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2D027E8-2D4E-9357-81F5-234479FBBA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3634" y="528118"/>
            <a:ext cx="5907785" cy="291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algn="l"/>
            <a:r>
              <a:rPr lang="en-GB" sz="1200"/>
              <a:t>Sub-heading text here and here and here and here</a:t>
            </a:r>
            <a:endParaRPr lang="en-GB" sz="1500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F0BAC52-79D1-6BFD-F36B-C7F59E7AB7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8755" y="1778001"/>
            <a:ext cx="42037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6492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277956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45649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690834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1EFCF2-014A-C6FC-8AA7-CCC868BA8A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5" y="158786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6361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0417611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CONTENTS SLIDE</a:t>
            </a:r>
            <a:endParaRPr lang="en-ZA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296723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/>
              <a:t>Normal text here and here and here and here</a:t>
            </a:r>
            <a:endParaRPr lang="en-GB" sz="2000"/>
          </a:p>
          <a:p>
            <a:pPr marL="197049" marR="3008" indent="-189904">
              <a:lnSpc>
                <a:spcPct val="100600"/>
              </a:lnSpc>
              <a:spcBef>
                <a:spcPts val="56"/>
              </a:spcBef>
            </a:pPr>
            <a:endParaRPr lang="en-GB" sz="1600" b="1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558145CC-D3BC-4C88-AA7C-565A0C5BCABE}"/>
              </a:ext>
            </a:extLst>
          </p:cNvPr>
          <p:cNvSpPr/>
          <p:nvPr userDrawn="1"/>
        </p:nvSpPr>
        <p:spPr>
          <a:xfrm>
            <a:off x="8189297" y="4958505"/>
            <a:ext cx="3821367" cy="15191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852083-73B7-4C88-A80A-3A49B3A5C48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46762" y="16185"/>
            <a:ext cx="1148040" cy="1151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218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2D027E8-2D4E-9357-81F5-234479FBBA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6" y="845445"/>
            <a:ext cx="10079724" cy="291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5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algn="l"/>
            <a:r>
              <a:rPr lang="en-GB" sz="1200"/>
              <a:t>Sub-heading text here and here and here and here</a:t>
            </a:r>
            <a:endParaRPr lang="en-GB" sz="15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1F9625-3BD0-8CEF-BB6E-C2D380C404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3474" y="1778001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6492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277956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45649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690834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CFE821C-A126-325A-A5F7-2E8FCBEC6A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0000" y="1778001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05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6492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277956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45649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690834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77C89CF-65C0-65A1-9053-1E5547FD1A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6526" y="1778001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05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6492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277956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45649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690834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10E32AF-ABB5-810B-6647-AA7A03E11C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5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7739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E057FC0-0CF3-598B-7894-CC63D03D9B7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10100" y="1777884"/>
            <a:ext cx="7581900" cy="3902075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1CA1FCD-EF11-F77D-A3FA-03915A1E75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7951" y="2466815"/>
            <a:ext cx="4139578" cy="3213144"/>
          </a:xfrm>
          <a:prstGeom prst="rect">
            <a:avLst/>
          </a:prstGeom>
        </p:spPr>
        <p:txBody>
          <a:bodyPr/>
          <a:lstStyle>
            <a:lvl1pPr marL="5640" marR="271007" indent="-142412" algn="l">
              <a:lnSpc>
                <a:spcPct val="100000"/>
              </a:lnSpc>
              <a:spcBef>
                <a:spcPts val="42"/>
              </a:spcBef>
              <a:buNone/>
              <a:defRPr sz="12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  <a:cs typeface="Tahoma" panose="020B0604030504040204" pitchFamily="34" charset="0"/>
              </a:defRPr>
            </a:lvl1pPr>
            <a:lvl2pPr marL="342864" indent="0" algn="ctr">
              <a:buNone/>
              <a:defRPr sz="1500"/>
            </a:lvl2pPr>
            <a:lvl3pPr marL="685727" indent="0" algn="ctr">
              <a:buNone/>
              <a:defRPr sz="1350"/>
            </a:lvl3pPr>
            <a:lvl4pPr marL="1028591" indent="0" algn="ctr">
              <a:buNone/>
              <a:defRPr sz="1200"/>
            </a:lvl4pPr>
            <a:lvl5pPr marL="1371455" indent="0" algn="ctr">
              <a:buNone/>
              <a:defRPr sz="1200"/>
            </a:lvl5pPr>
            <a:lvl6pPr marL="1714318" indent="0" algn="ctr">
              <a:buNone/>
              <a:defRPr sz="1200"/>
            </a:lvl6pPr>
            <a:lvl7pPr marL="2057182" indent="0" algn="ctr">
              <a:buNone/>
              <a:defRPr sz="1200"/>
            </a:lvl7pPr>
            <a:lvl8pPr marL="2400046" indent="0" algn="ctr">
              <a:buNone/>
              <a:defRPr sz="1200"/>
            </a:lvl8pPr>
            <a:lvl9pPr marL="2742909" indent="0" algn="ctr">
              <a:buNone/>
              <a:defRPr sz="1200"/>
            </a:lvl9pPr>
          </a:lstStyle>
          <a:p>
            <a:r>
              <a:rPr lang="en-GB" sz="1350"/>
              <a:t>Normal text here and here and here and here</a:t>
            </a:r>
            <a:endParaRPr lang="en-GB" sz="180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7ADA2A2-B019-3E85-7EB4-24AC52AC21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793" y="1776017"/>
            <a:ext cx="4139578" cy="690797"/>
          </a:xfrm>
          <a:prstGeom prst="rect">
            <a:avLst/>
          </a:prstGeom>
        </p:spPr>
        <p:txBody>
          <a:bodyPr/>
          <a:lstStyle>
            <a:lvl1pPr>
              <a:defRPr sz="135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algn="l"/>
            <a:r>
              <a:rPr lang="en-GB" sz="1200"/>
              <a:t>Sub-heading text here and here and here and here</a:t>
            </a:r>
            <a:endParaRPr lang="en-GB" sz="15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E2CF7-1553-356D-C0BE-FEE5FC3377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5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68573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436" y="1061441"/>
            <a:ext cx="10822684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C6647BB-83A6-68CE-A0DA-BA6CBD6AE7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1435" y="2112087"/>
            <a:ext cx="10822684" cy="2361671"/>
          </a:xfrm>
          <a:prstGeom prst="rect">
            <a:avLst/>
          </a:prstGeom>
        </p:spPr>
        <p:txBody>
          <a:bodyPr/>
          <a:lstStyle>
            <a:lvl1pPr marL="5640" marR="271007" indent="-142412" algn="ctr">
              <a:lnSpc>
                <a:spcPct val="165300"/>
              </a:lnSpc>
              <a:spcBef>
                <a:spcPts val="42"/>
              </a:spcBef>
              <a:buNone/>
              <a:defRPr sz="15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  <a:cs typeface="Tahoma" panose="020B0604030504040204" pitchFamily="34" charset="0"/>
              </a:defRPr>
            </a:lvl1pPr>
            <a:lvl2pPr marL="342864" indent="0" algn="ctr">
              <a:buNone/>
              <a:defRPr sz="1500"/>
            </a:lvl2pPr>
            <a:lvl3pPr marL="685727" indent="0" algn="ctr">
              <a:buNone/>
              <a:defRPr sz="1350"/>
            </a:lvl3pPr>
            <a:lvl4pPr marL="1028591" indent="0" algn="ctr">
              <a:buNone/>
              <a:defRPr sz="1200"/>
            </a:lvl4pPr>
            <a:lvl5pPr marL="1371455" indent="0" algn="ctr">
              <a:buNone/>
              <a:defRPr sz="1200"/>
            </a:lvl5pPr>
            <a:lvl6pPr marL="1714318" indent="0" algn="ctr">
              <a:buNone/>
              <a:defRPr sz="1200"/>
            </a:lvl6pPr>
            <a:lvl7pPr marL="2057182" indent="0" algn="ctr">
              <a:buNone/>
              <a:defRPr sz="1200"/>
            </a:lvl7pPr>
            <a:lvl8pPr marL="2400046" indent="0" algn="ctr">
              <a:buNone/>
              <a:defRPr sz="1200"/>
            </a:lvl8pPr>
            <a:lvl9pPr marL="2742909" indent="0" algn="ctr">
              <a:buNone/>
              <a:defRPr sz="1200"/>
            </a:lvl9pPr>
          </a:lstStyle>
          <a:p>
            <a:r>
              <a:rPr lang="en-US" sz="1800"/>
              <a:t>Lorem ipsum dolor sit </a:t>
            </a:r>
            <a:r>
              <a:rPr lang="en-US" sz="1800" err="1"/>
              <a:t>amet</a:t>
            </a:r>
            <a:r>
              <a:rPr lang="en-US" sz="1800"/>
              <a:t>, </a:t>
            </a:r>
            <a:r>
              <a:rPr lang="en-US" sz="1800" err="1"/>
              <a:t>consectetuer</a:t>
            </a:r>
            <a:r>
              <a:rPr lang="en-US" sz="1800"/>
              <a:t> </a:t>
            </a:r>
            <a:r>
              <a:rPr lang="en-US" sz="1800" err="1"/>
              <a:t>adipiscing</a:t>
            </a:r>
            <a:r>
              <a:rPr lang="en-US" sz="1800"/>
              <a:t> </a:t>
            </a:r>
            <a:r>
              <a:rPr lang="en-US" sz="1800" err="1"/>
              <a:t>elit</a:t>
            </a:r>
            <a:r>
              <a:rPr lang="en-US" sz="1800"/>
              <a:t>, sed diam </a:t>
            </a:r>
            <a:r>
              <a:rPr lang="en-US" sz="1800" err="1"/>
              <a:t>nonummy</a:t>
            </a:r>
            <a:r>
              <a:rPr lang="en-US" sz="1800"/>
              <a:t> </a:t>
            </a:r>
            <a:r>
              <a:rPr lang="en-US" sz="1800" err="1"/>
              <a:t>nibh</a:t>
            </a:r>
            <a:r>
              <a:rPr lang="en-US" sz="1800"/>
              <a:t> </a:t>
            </a:r>
            <a:r>
              <a:rPr lang="en-US" sz="1800" err="1"/>
              <a:t>euismod</a:t>
            </a:r>
            <a:r>
              <a:rPr lang="en-US" sz="1800"/>
              <a:t> </a:t>
            </a:r>
            <a:r>
              <a:rPr lang="en-US" sz="1800" err="1"/>
              <a:t>tincidunt</a:t>
            </a:r>
            <a:r>
              <a:rPr lang="en-US" sz="1800"/>
              <a:t> </a:t>
            </a:r>
            <a:r>
              <a:rPr lang="en-US" sz="1800" err="1"/>
              <a:t>ut</a:t>
            </a:r>
            <a:r>
              <a:rPr lang="en-US" sz="1800"/>
              <a:t> </a:t>
            </a:r>
            <a:r>
              <a:rPr lang="en-US" sz="1800" err="1"/>
              <a:t>laoreet</a:t>
            </a:r>
            <a:r>
              <a:rPr lang="en-US" sz="1800"/>
              <a:t> dolore magna </a:t>
            </a:r>
            <a:r>
              <a:rPr lang="en-US" sz="1800" err="1"/>
              <a:t>aliquam</a:t>
            </a:r>
            <a:r>
              <a:rPr lang="en-US" sz="1800"/>
              <a:t> </a:t>
            </a:r>
            <a:r>
              <a:rPr lang="en-US" sz="1800" err="1"/>
              <a:t>erat</a:t>
            </a:r>
            <a:r>
              <a:rPr lang="en-US" sz="1800"/>
              <a:t> </a:t>
            </a:r>
            <a:r>
              <a:rPr lang="en-US" sz="1800" err="1"/>
              <a:t>volutpat</a:t>
            </a:r>
            <a:r>
              <a:rPr lang="en-US" sz="1800"/>
              <a:t>. Ut </a:t>
            </a:r>
            <a:r>
              <a:rPr lang="en-US" sz="1800" err="1"/>
              <a:t>wisi</a:t>
            </a:r>
            <a:r>
              <a:rPr lang="en-US" sz="1800"/>
              <a:t> </a:t>
            </a:r>
            <a:r>
              <a:rPr lang="en-US" sz="1800" err="1"/>
              <a:t>enim</a:t>
            </a:r>
            <a:r>
              <a:rPr lang="en-US" sz="1800"/>
              <a:t> ad minim </a:t>
            </a:r>
            <a:r>
              <a:rPr lang="en-US" sz="1800" err="1"/>
              <a:t>veniam</a:t>
            </a:r>
            <a:r>
              <a:rPr lang="en-US" sz="1800"/>
              <a:t>, </a:t>
            </a:r>
            <a:r>
              <a:rPr lang="en-US" sz="1800" err="1"/>
              <a:t>quis</a:t>
            </a:r>
            <a:r>
              <a:rPr lang="en-US" sz="1800"/>
              <a:t> </a:t>
            </a:r>
            <a:r>
              <a:rPr lang="en-US" sz="1800" err="1"/>
              <a:t>nostrud</a:t>
            </a:r>
            <a:r>
              <a:rPr lang="en-US" sz="1800"/>
              <a:t> </a:t>
            </a:r>
            <a:r>
              <a:rPr lang="en-US" sz="1800" err="1"/>
              <a:t>exerci</a:t>
            </a:r>
            <a:r>
              <a:rPr lang="en-US" sz="1800"/>
              <a:t> </a:t>
            </a:r>
            <a:r>
              <a:rPr lang="en-US" sz="1800" err="1"/>
              <a:t>tation</a:t>
            </a:r>
            <a:r>
              <a:rPr lang="en-US" sz="1800"/>
              <a:t> </a:t>
            </a:r>
            <a:r>
              <a:rPr lang="en-US" sz="1800" err="1"/>
              <a:t>ullamcorper</a:t>
            </a:r>
            <a:r>
              <a:rPr lang="en-US" sz="1800"/>
              <a:t> </a:t>
            </a:r>
            <a:r>
              <a:rPr lang="en-US" sz="1800" err="1"/>
              <a:t>suscipit</a:t>
            </a:r>
            <a:r>
              <a:rPr lang="en-US" sz="1800"/>
              <a:t> </a:t>
            </a:r>
            <a:r>
              <a:rPr lang="en-US" sz="1800" err="1"/>
              <a:t>lobortis</a:t>
            </a:r>
            <a:r>
              <a:rPr lang="en-US" sz="1800"/>
              <a:t> </a:t>
            </a:r>
            <a:r>
              <a:rPr lang="en-US" sz="1800" err="1"/>
              <a:t>nisl</a:t>
            </a:r>
            <a:r>
              <a:rPr lang="en-US" sz="1800"/>
              <a:t> </a:t>
            </a:r>
            <a:r>
              <a:rPr lang="en-US" sz="1800" err="1"/>
              <a:t>ut</a:t>
            </a:r>
            <a:r>
              <a:rPr lang="en-US" sz="1800"/>
              <a:t> </a:t>
            </a:r>
            <a:r>
              <a:rPr lang="en-US" sz="1800" err="1"/>
              <a:t>aliquip</a:t>
            </a:r>
            <a:r>
              <a:rPr lang="en-US" sz="1800"/>
              <a:t> ex </a:t>
            </a:r>
            <a:r>
              <a:rPr lang="en-US" sz="1800" err="1"/>
              <a:t>ea</a:t>
            </a:r>
            <a:r>
              <a:rPr lang="en-US" sz="1800"/>
              <a:t> </a:t>
            </a:r>
            <a:r>
              <a:rPr lang="en-US" sz="1800" err="1"/>
              <a:t>commodo</a:t>
            </a:r>
            <a:r>
              <a:rPr lang="en-US" sz="1800"/>
              <a:t> </a:t>
            </a:r>
            <a:r>
              <a:rPr lang="en-US" sz="1800" err="1"/>
              <a:t>consequat</a:t>
            </a:r>
            <a:r>
              <a:rPr lang="en-US" sz="1800"/>
              <a:t>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BA122D4-C660-4B51-E621-0749C8299F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96657" y="4689173"/>
            <a:ext cx="1289135" cy="20095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>
              <a:defRPr sz="675" b="0" i="1">
                <a:solidFill>
                  <a:srgbClr val="66594C"/>
                </a:solidFill>
                <a:latin typeface="Apex New Medium Italic" panose="02010600040501010103" pitchFamily="2" charset="77"/>
                <a:ea typeface="Apex New Medium Italic" panose="02010600040501010103" pitchFamily="2" charset="77"/>
              </a:defRPr>
            </a:lvl1pPr>
          </a:lstStyle>
          <a:p>
            <a:pPr lvl="0"/>
            <a:r>
              <a:rPr lang="en-GB"/>
              <a:t>Click to edit master text styles.  </a:t>
            </a:r>
          </a:p>
        </p:txBody>
      </p:sp>
    </p:spTree>
    <p:extLst>
      <p:ext uri="{BB962C8B-B14F-4D97-AF65-F5344CB8AC3E}">
        <p14:creationId xmlns:p14="http://schemas.microsoft.com/office/powerpoint/2010/main" val="11681296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4E62448-174A-A466-FFFC-726AD16245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5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820E3CC-DF6C-09AC-D76A-4F15CB3254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5" y="831283"/>
            <a:ext cx="5889054" cy="410136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algn="l"/>
            <a:r>
              <a:rPr lang="en-GB" sz="1200"/>
              <a:t>Sub-heading text here and here and here and here</a:t>
            </a:r>
            <a:endParaRPr lang="en-GB" sz="1500"/>
          </a:p>
        </p:txBody>
      </p:sp>
    </p:spTree>
    <p:extLst>
      <p:ext uri="{BB962C8B-B14F-4D97-AF65-F5344CB8AC3E}">
        <p14:creationId xmlns:p14="http://schemas.microsoft.com/office/powerpoint/2010/main" val="15758485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3411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037CE3-375D-2BB2-1C58-73F4A24152BA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9356F0B1-A2E8-1558-F23B-6FD74C52E4B8}"/>
              </a:ext>
            </a:extLst>
          </p:cNvPr>
          <p:cNvSpPr/>
          <p:nvPr userDrawn="1"/>
        </p:nvSpPr>
        <p:spPr>
          <a:xfrm>
            <a:off x="11521843" y="6474758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325288-7D19-894A-52D8-9A820BF0B847}"/>
              </a:ext>
            </a:extLst>
          </p:cNvPr>
          <p:cNvSpPr/>
          <p:nvPr userDrawn="1"/>
        </p:nvSpPr>
        <p:spPr>
          <a:xfrm>
            <a:off x="11588594" y="6534856"/>
            <a:ext cx="520704" cy="214315"/>
          </a:xfrm>
          <a:prstGeom prst="rect">
            <a:avLst/>
          </a:prstGeom>
        </p:spPr>
        <p:txBody>
          <a:bodyPr vert="horz" lIns="0" tIns="0" rIns="0" bIns="34507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675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575" b="1">
              <a:solidFill>
                <a:schemeClr val="bg1"/>
              </a:solidFill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458570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037CE3-375D-2BB2-1C58-73F4A24152BA}"/>
              </a:ext>
            </a:extLst>
          </p:cNvPr>
          <p:cNvSpPr/>
          <p:nvPr userDrawn="1"/>
        </p:nvSpPr>
        <p:spPr>
          <a:xfrm>
            <a:off x="0" y="1"/>
            <a:ext cx="12192000" cy="603754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90790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8F99CAC-C0C8-2644-91FF-26FA30833B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2602" y="1720557"/>
            <a:ext cx="5534399" cy="4256497"/>
          </a:xfrm>
          <a:prstGeom prst="rect">
            <a:avLst/>
          </a:prstGeom>
        </p:spPr>
        <p:txBody>
          <a:bodyPr/>
          <a:lstStyle>
            <a:lvl1pPr marL="7521" marR="3008" indent="0" algn="l">
              <a:lnSpc>
                <a:spcPct val="144400"/>
              </a:lnSpc>
              <a:spcBef>
                <a:spcPts val="56"/>
              </a:spcBef>
              <a:buFont typeface="Arial" panose="020B0604020202020204" pitchFamily="34" charset="0"/>
              <a:buNone/>
              <a:defRPr sz="172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541508" indent="-270754" algn="l">
              <a:spcBef>
                <a:spcPts val="0"/>
              </a:spcBef>
              <a:buFont typeface="Arial" panose="020B0604020202020204" pitchFamily="34" charset="0"/>
              <a:buChar char="•"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7521" marR="3008">
              <a:lnSpc>
                <a:spcPct val="144400"/>
              </a:lnSpc>
              <a:spcBef>
                <a:spcPts val="56"/>
              </a:spcBef>
            </a:pP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rem ipsum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lor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it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me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ectetuer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ipiscing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i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d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am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6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nummy</a:t>
            </a:r>
            <a:r>
              <a:rPr lang="en-GB" sz="1717" spc="6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ibh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uismod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ncidun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oree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dolore </a:t>
            </a:r>
            <a:r>
              <a:rPr lang="en-GB" sz="1717" spc="6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gna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iquam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-6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rat</a:t>
            </a:r>
            <a:r>
              <a:rPr lang="en-GB" sz="1717" spc="-6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lutpat</a:t>
            </a:r>
            <a:r>
              <a:rPr lang="en-GB" sz="1717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si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im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d  minim </a:t>
            </a:r>
            <a:r>
              <a:rPr lang="en-GB" sz="1717" spc="-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eniam</a:t>
            </a:r>
            <a:r>
              <a:rPr lang="en-GB" sz="1717" spc="-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uis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strud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-12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erci</a:t>
            </a:r>
            <a:r>
              <a:rPr lang="en-GB" sz="1717" spc="-12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tion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llamcorper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scipi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bortis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isl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iquip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-15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a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6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odo</a:t>
            </a:r>
            <a:r>
              <a:rPr lang="en-GB" sz="1717" spc="6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equa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GB" sz="1717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4A892B8-0B4A-6249-9EFA-E629D609104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03292" y="1720850"/>
            <a:ext cx="5357066" cy="4256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Insert picture her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89E258-1D79-4E25-B592-51F1147856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SLIDE TITLE GOES HERE</a:t>
            </a:r>
            <a:br>
              <a:rPr lang="en-US"/>
            </a:br>
            <a:r>
              <a:rPr lang="en-US"/>
              <a:t>ON TWO LINES IF NECESSARY</a:t>
            </a:r>
          </a:p>
        </p:txBody>
      </p:sp>
    </p:spTree>
    <p:extLst>
      <p:ext uri="{BB962C8B-B14F-4D97-AF65-F5344CB8AC3E}">
        <p14:creationId xmlns:p14="http://schemas.microsoft.com/office/powerpoint/2010/main" val="41880521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7456" y="1783670"/>
            <a:ext cx="3455690" cy="415498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47456" y="2728306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B3F589F-2371-83D8-F684-3450621F48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9" y="260005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493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2818321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0BD579-4CC2-EDC1-6F2E-4E4E271189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9" y="260005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0445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669121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ADD TITLE</a:t>
            </a:r>
            <a:br>
              <a:rPr lang="en-US"/>
            </a:br>
            <a:r>
              <a:rPr lang="en-US"/>
              <a:t>ON TWO LINES IF NECESSARY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243447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 descr="A desk with technical drawings, pencil and tools">
            <a:extLst>
              <a:ext uri="{FF2B5EF4-FFF2-40B4-BE49-F238E27FC236}">
                <a16:creationId xmlns:a16="http://schemas.microsoft.com/office/drawing/2014/main" id="{34BADCB9-88FF-853F-7CB9-967EA4291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34063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3065187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41512861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>
            <a:extLst>
              <a:ext uri="{FF2B5EF4-FFF2-40B4-BE49-F238E27FC236}">
                <a16:creationId xmlns:a16="http://schemas.microsoft.com/office/drawing/2014/main" id="{34BADCB9-88FF-853F-7CB9-967EA4291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A86DB4-8A0E-5852-A8CA-D1F0D4A0FEF2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2">
              <a:alpha val="16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34063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3065187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8361859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15" descr="Aerial view of container ship">
            <a:extLst>
              <a:ext uri="{FF2B5EF4-FFF2-40B4-BE49-F238E27FC236}">
                <a16:creationId xmlns:a16="http://schemas.microsoft.com/office/drawing/2014/main" id="{7B4597E5-7462-D917-B3FC-691CFD46CE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34063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2818321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2408261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15">
            <a:extLst>
              <a:ext uri="{FF2B5EF4-FFF2-40B4-BE49-F238E27FC236}">
                <a16:creationId xmlns:a16="http://schemas.microsoft.com/office/drawing/2014/main" id="{7B4597E5-7462-D917-B3FC-691CFD46CE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7896" y="3390792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077D36-9B62-FD3B-4F96-ED9C71D7A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07809"/>
            <a:ext cx="5741486" cy="134063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4486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3419BA2B-CD57-53EE-397D-95B77E2910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7896" y="3429000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323907A-9933-E4B0-2CF7-72CC82888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93536"/>
            <a:ext cx="5741486" cy="134063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719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3419BA2B-CD57-53EE-397D-95B77E2910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8507" y="3308789"/>
            <a:ext cx="5099774" cy="416984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here and here and here</a:t>
            </a:r>
            <a:endParaRPr lang="en-GB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B194933-7819-E06D-72CA-3D249A06F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207809"/>
            <a:ext cx="5741486" cy="134063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8541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EE5FA182-F7DE-7FF9-AF9F-6B97D1F061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794" y="1559081"/>
            <a:ext cx="5741486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2818321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9619147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EE5FA182-F7DE-7FF9-AF9F-6B97D1F06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A525C38-6FFD-DE61-F2F9-A74DA63DDA63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2">
              <a:alpha val="2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2532" y="1559081"/>
            <a:ext cx="4205747" cy="101745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2818321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0886946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C3784C0-AEDF-10DD-4608-3BD04462041C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6933" y="1559081"/>
            <a:ext cx="4561347" cy="101745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5544" y="2818321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  <p:sp>
        <p:nvSpPr>
          <p:cNvPr id="3" name="Graphic 4">
            <a:extLst>
              <a:ext uri="{FF2B5EF4-FFF2-40B4-BE49-F238E27FC236}">
                <a16:creationId xmlns:a16="http://schemas.microsoft.com/office/drawing/2014/main" id="{D1BD1A9C-0B6C-5E16-67BF-F46E6D548358}"/>
              </a:ext>
            </a:extLst>
          </p:cNvPr>
          <p:cNvSpPr/>
          <p:nvPr userDrawn="1"/>
        </p:nvSpPr>
        <p:spPr>
          <a:xfrm>
            <a:off x="629600" y="913946"/>
            <a:ext cx="9089796" cy="5365238"/>
          </a:xfrm>
          <a:custGeom>
            <a:avLst/>
            <a:gdLst>
              <a:gd name="connsiteX0" fmla="*/ 2718340 w 6829615"/>
              <a:gd name="connsiteY0" fmla="*/ 4031171 h 4031170"/>
              <a:gd name="connsiteX1" fmla="*/ 2288381 w 6829615"/>
              <a:gd name="connsiteY1" fmla="*/ 4028504 h 4031170"/>
              <a:gd name="connsiteX2" fmla="*/ 1978724 w 6829615"/>
              <a:gd name="connsiteY2" fmla="*/ 3663887 h 4031170"/>
              <a:gd name="connsiteX3" fmla="*/ 1978724 w 6829615"/>
              <a:gd name="connsiteY3" fmla="*/ 3314129 h 4031170"/>
              <a:gd name="connsiteX4" fmla="*/ 1742980 w 6829615"/>
              <a:gd name="connsiteY4" fmla="*/ 2885599 h 4031170"/>
              <a:gd name="connsiteX5" fmla="*/ 1743742 w 6829615"/>
              <a:gd name="connsiteY5" fmla="*/ 2627662 h 4031170"/>
              <a:gd name="connsiteX6" fmla="*/ 1603534 w 6829615"/>
              <a:gd name="connsiteY6" fmla="*/ 2383631 h 4031170"/>
              <a:gd name="connsiteX7" fmla="*/ 1603534 w 6829615"/>
              <a:gd name="connsiteY7" fmla="*/ 1988344 h 4031170"/>
              <a:gd name="connsiteX8" fmla="*/ 1563624 w 6829615"/>
              <a:gd name="connsiteY8" fmla="*/ 1916906 h 4031170"/>
              <a:gd name="connsiteX9" fmla="*/ 1009840 w 6829615"/>
              <a:gd name="connsiteY9" fmla="*/ 1916906 h 4031170"/>
              <a:gd name="connsiteX10" fmla="*/ 947833 w 6829615"/>
              <a:gd name="connsiteY10" fmla="*/ 2024443 h 4031170"/>
              <a:gd name="connsiteX11" fmla="*/ 351282 w 6829615"/>
              <a:gd name="connsiteY11" fmla="*/ 2024443 h 4031170"/>
              <a:gd name="connsiteX12" fmla="*/ 0 w 6829615"/>
              <a:gd name="connsiteY12" fmla="*/ 1478661 h 4031170"/>
              <a:gd name="connsiteX13" fmla="*/ 0 w 6829615"/>
              <a:gd name="connsiteY13" fmla="*/ 860965 h 4031170"/>
              <a:gd name="connsiteX14" fmla="*/ 512636 w 6829615"/>
              <a:gd name="connsiteY14" fmla="*/ 0 h 4031170"/>
              <a:gd name="connsiteX15" fmla="*/ 1361408 w 6829615"/>
              <a:gd name="connsiteY15" fmla="*/ 0 h 4031170"/>
              <a:gd name="connsiteX16" fmla="*/ 1537526 w 6829615"/>
              <a:gd name="connsiteY16" fmla="*/ 290417 h 4031170"/>
              <a:gd name="connsiteX17" fmla="*/ 1638967 w 6829615"/>
              <a:gd name="connsiteY17" fmla="*/ 289751 h 4031170"/>
              <a:gd name="connsiteX18" fmla="*/ 1798130 w 6829615"/>
              <a:gd name="connsiteY18" fmla="*/ 0 h 4031170"/>
              <a:gd name="connsiteX19" fmla="*/ 6829616 w 6829615"/>
              <a:gd name="connsiteY19" fmla="*/ 0 h 4031170"/>
              <a:gd name="connsiteX20" fmla="*/ 6829616 w 6829615"/>
              <a:gd name="connsiteY20" fmla="*/ 161925 h 4031170"/>
              <a:gd name="connsiteX21" fmla="*/ 1893951 w 6829615"/>
              <a:gd name="connsiteY21" fmla="*/ 161925 h 4031170"/>
              <a:gd name="connsiteX22" fmla="*/ 1735169 w 6829615"/>
              <a:gd name="connsiteY22" fmla="*/ 451104 h 4031170"/>
              <a:gd name="connsiteX23" fmla="*/ 1446752 w 6829615"/>
              <a:gd name="connsiteY23" fmla="*/ 452914 h 4031170"/>
              <a:gd name="connsiteX24" fmla="*/ 1270254 w 6829615"/>
              <a:gd name="connsiteY24" fmla="*/ 161925 h 4031170"/>
              <a:gd name="connsiteX25" fmla="*/ 604647 w 6829615"/>
              <a:gd name="connsiteY25" fmla="*/ 161925 h 4031170"/>
              <a:gd name="connsiteX26" fmla="*/ 161925 w 6829615"/>
              <a:gd name="connsiteY26" fmla="*/ 905447 h 4031170"/>
              <a:gd name="connsiteX27" fmla="*/ 161925 w 6829615"/>
              <a:gd name="connsiteY27" fmla="*/ 1431036 h 4031170"/>
              <a:gd name="connsiteX28" fmla="*/ 439674 w 6829615"/>
              <a:gd name="connsiteY28" fmla="*/ 1862518 h 4031170"/>
              <a:gd name="connsiteX29" fmla="*/ 854297 w 6829615"/>
              <a:gd name="connsiteY29" fmla="*/ 1862518 h 4031170"/>
              <a:gd name="connsiteX30" fmla="*/ 916305 w 6829615"/>
              <a:gd name="connsiteY30" fmla="*/ 1754981 h 4031170"/>
              <a:gd name="connsiteX31" fmla="*/ 1658684 w 6829615"/>
              <a:gd name="connsiteY31" fmla="*/ 1754981 h 4031170"/>
              <a:gd name="connsiteX32" fmla="*/ 1765459 w 6829615"/>
              <a:gd name="connsiteY32" fmla="*/ 1946148 h 4031170"/>
              <a:gd name="connsiteX33" fmla="*/ 1765459 w 6829615"/>
              <a:gd name="connsiteY33" fmla="*/ 2340388 h 4031170"/>
              <a:gd name="connsiteX34" fmla="*/ 1905762 w 6829615"/>
              <a:gd name="connsiteY34" fmla="*/ 2584704 h 4031170"/>
              <a:gd name="connsiteX35" fmla="*/ 1905000 w 6829615"/>
              <a:gd name="connsiteY35" fmla="*/ 2844260 h 4031170"/>
              <a:gd name="connsiteX36" fmla="*/ 2140649 w 6829615"/>
              <a:gd name="connsiteY36" fmla="*/ 3272504 h 4031170"/>
              <a:gd name="connsiteX37" fmla="*/ 2140649 w 6829615"/>
              <a:gd name="connsiteY37" fmla="*/ 3604451 h 4031170"/>
              <a:gd name="connsiteX38" fmla="*/ 2363724 w 6829615"/>
              <a:gd name="connsiteY38" fmla="*/ 3867055 h 4031170"/>
              <a:gd name="connsiteX39" fmla="*/ 2627090 w 6829615"/>
              <a:gd name="connsiteY39" fmla="*/ 3868674 h 4031170"/>
              <a:gd name="connsiteX40" fmla="*/ 2764250 w 6829615"/>
              <a:gd name="connsiteY40" fmla="*/ 3640646 h 4031170"/>
              <a:gd name="connsiteX41" fmla="*/ 2764250 w 6829615"/>
              <a:gd name="connsiteY41" fmla="*/ 3422047 h 4031170"/>
              <a:gd name="connsiteX42" fmla="*/ 3150203 w 6829615"/>
              <a:gd name="connsiteY42" fmla="*/ 2817019 h 4031170"/>
              <a:gd name="connsiteX43" fmla="*/ 3150203 w 6829615"/>
              <a:gd name="connsiteY43" fmla="*/ 2411444 h 4031170"/>
              <a:gd name="connsiteX44" fmla="*/ 3374231 w 6829615"/>
              <a:gd name="connsiteY44" fmla="*/ 2058067 h 4031170"/>
              <a:gd name="connsiteX45" fmla="*/ 3595973 w 6829615"/>
              <a:gd name="connsiteY45" fmla="*/ 2060448 h 4031170"/>
              <a:gd name="connsiteX46" fmla="*/ 3872960 w 6829615"/>
              <a:gd name="connsiteY46" fmla="*/ 1576007 h 4031170"/>
              <a:gd name="connsiteX47" fmla="*/ 3284982 w 6829615"/>
              <a:gd name="connsiteY47" fmla="*/ 1576007 h 4031170"/>
              <a:gd name="connsiteX48" fmla="*/ 3057049 w 6829615"/>
              <a:gd name="connsiteY48" fmla="*/ 1184529 h 4031170"/>
              <a:gd name="connsiteX49" fmla="*/ 3057525 w 6829615"/>
              <a:gd name="connsiteY49" fmla="*/ 867728 h 4031170"/>
              <a:gd name="connsiteX50" fmla="*/ 2748724 w 6829615"/>
              <a:gd name="connsiteY50" fmla="*/ 440912 h 4031170"/>
              <a:gd name="connsiteX51" fmla="*/ 2058638 w 6829615"/>
              <a:gd name="connsiteY51" fmla="*/ 440912 h 4031170"/>
              <a:gd name="connsiteX52" fmla="*/ 1873853 w 6829615"/>
              <a:gd name="connsiteY52" fmla="*/ 778097 h 4031170"/>
              <a:gd name="connsiteX53" fmla="*/ 1305116 w 6829615"/>
              <a:gd name="connsiteY53" fmla="*/ 778097 h 4031170"/>
              <a:gd name="connsiteX54" fmla="*/ 1102233 w 6829615"/>
              <a:gd name="connsiteY54" fmla="*/ 431387 h 4031170"/>
              <a:gd name="connsiteX55" fmla="*/ 739426 w 6829615"/>
              <a:gd name="connsiteY55" fmla="*/ 431387 h 4031170"/>
              <a:gd name="connsiteX56" fmla="*/ 421196 w 6829615"/>
              <a:gd name="connsiteY56" fmla="*/ 995077 h 4031170"/>
              <a:gd name="connsiteX57" fmla="*/ 428435 w 6829615"/>
              <a:gd name="connsiteY57" fmla="*/ 1339787 h 4031170"/>
              <a:gd name="connsiteX58" fmla="*/ 598075 w 6829615"/>
              <a:gd name="connsiteY58" fmla="*/ 1584389 h 4031170"/>
              <a:gd name="connsiteX59" fmla="*/ 720471 w 6829615"/>
              <a:gd name="connsiteY59" fmla="*/ 1584389 h 4031170"/>
              <a:gd name="connsiteX60" fmla="*/ 823817 w 6829615"/>
              <a:gd name="connsiteY60" fmla="*/ 1449229 h 4031170"/>
              <a:gd name="connsiteX61" fmla="*/ 1788795 w 6829615"/>
              <a:gd name="connsiteY61" fmla="*/ 1449229 h 4031170"/>
              <a:gd name="connsiteX62" fmla="*/ 2030825 w 6829615"/>
              <a:gd name="connsiteY62" fmla="*/ 1890046 h 4031170"/>
              <a:gd name="connsiteX63" fmla="*/ 2030825 w 6829615"/>
              <a:gd name="connsiteY63" fmla="*/ 2294763 h 4031170"/>
              <a:gd name="connsiteX64" fmla="*/ 2171414 w 6829615"/>
              <a:gd name="connsiteY64" fmla="*/ 2536222 h 4031170"/>
              <a:gd name="connsiteX65" fmla="*/ 2171414 w 6829615"/>
              <a:gd name="connsiteY65" fmla="*/ 2782348 h 4031170"/>
              <a:gd name="connsiteX66" fmla="*/ 2424017 w 6829615"/>
              <a:gd name="connsiteY66" fmla="*/ 3204782 h 4031170"/>
              <a:gd name="connsiteX67" fmla="*/ 2424017 w 6829615"/>
              <a:gd name="connsiteY67" fmla="*/ 3455861 h 4031170"/>
              <a:gd name="connsiteX68" fmla="*/ 2493740 w 6829615"/>
              <a:gd name="connsiteY68" fmla="*/ 3546824 h 4031170"/>
              <a:gd name="connsiteX69" fmla="*/ 2523554 w 6829615"/>
              <a:gd name="connsiteY69" fmla="*/ 3497485 h 4031170"/>
              <a:gd name="connsiteX70" fmla="*/ 2523554 w 6829615"/>
              <a:gd name="connsiteY70" fmla="*/ 3311366 h 4031170"/>
              <a:gd name="connsiteX71" fmla="*/ 2882741 w 6829615"/>
              <a:gd name="connsiteY71" fmla="*/ 2736723 h 4031170"/>
              <a:gd name="connsiteX72" fmla="*/ 2885694 w 6829615"/>
              <a:gd name="connsiteY72" fmla="*/ 2291906 h 4031170"/>
              <a:gd name="connsiteX73" fmla="*/ 3159919 w 6829615"/>
              <a:gd name="connsiteY73" fmla="*/ 1831372 h 4031170"/>
              <a:gd name="connsiteX74" fmla="*/ 3448907 w 6829615"/>
              <a:gd name="connsiteY74" fmla="*/ 1830324 h 4031170"/>
              <a:gd name="connsiteX75" fmla="*/ 3463671 w 6829615"/>
              <a:gd name="connsiteY75" fmla="*/ 1805464 h 4031170"/>
              <a:gd name="connsiteX76" fmla="*/ 3139345 w 6829615"/>
              <a:gd name="connsiteY76" fmla="*/ 1804226 h 4031170"/>
              <a:gd name="connsiteX77" fmla="*/ 2795969 w 6829615"/>
              <a:gd name="connsiteY77" fmla="*/ 1241489 h 4031170"/>
              <a:gd name="connsiteX78" fmla="*/ 2806637 w 6829615"/>
              <a:gd name="connsiteY78" fmla="*/ 959072 h 4031170"/>
              <a:gd name="connsiteX79" fmla="*/ 2635949 w 6829615"/>
              <a:gd name="connsiteY79" fmla="*/ 708470 h 4031170"/>
              <a:gd name="connsiteX80" fmla="*/ 2205990 w 6829615"/>
              <a:gd name="connsiteY80" fmla="*/ 706184 h 4031170"/>
              <a:gd name="connsiteX81" fmla="*/ 2018062 w 6829615"/>
              <a:gd name="connsiteY81" fmla="*/ 1035939 h 4031170"/>
              <a:gd name="connsiteX82" fmla="*/ 1136618 w 6829615"/>
              <a:gd name="connsiteY82" fmla="*/ 1035939 h 4031170"/>
              <a:gd name="connsiteX83" fmla="*/ 966883 w 6829615"/>
              <a:gd name="connsiteY83" fmla="*/ 719423 h 4031170"/>
              <a:gd name="connsiteX84" fmla="*/ 906685 w 6829615"/>
              <a:gd name="connsiteY84" fmla="*/ 719423 h 4031170"/>
              <a:gd name="connsiteX85" fmla="*/ 707708 w 6829615"/>
              <a:gd name="connsiteY85" fmla="*/ 1096709 h 4031170"/>
              <a:gd name="connsiteX86" fmla="*/ 708946 w 6829615"/>
              <a:gd name="connsiteY86" fmla="*/ 1153954 h 4031170"/>
              <a:gd name="connsiteX87" fmla="*/ 2203990 w 6829615"/>
              <a:gd name="connsiteY87" fmla="*/ 1154811 h 4031170"/>
              <a:gd name="connsiteX88" fmla="*/ 2355342 w 6829615"/>
              <a:gd name="connsiteY88" fmla="*/ 858298 h 4031170"/>
              <a:gd name="connsiteX89" fmla="*/ 2559749 w 6829615"/>
              <a:gd name="connsiteY89" fmla="*/ 858298 h 4031170"/>
              <a:gd name="connsiteX90" fmla="*/ 2688812 w 6829615"/>
              <a:gd name="connsiteY90" fmla="*/ 1028414 h 4031170"/>
              <a:gd name="connsiteX91" fmla="*/ 2688812 w 6829615"/>
              <a:gd name="connsiteY91" fmla="*/ 1353217 h 4031170"/>
              <a:gd name="connsiteX92" fmla="*/ 3007519 w 6829615"/>
              <a:gd name="connsiteY92" fmla="*/ 1887664 h 4031170"/>
              <a:gd name="connsiteX93" fmla="*/ 2767394 w 6829615"/>
              <a:gd name="connsiteY93" fmla="*/ 2247900 h 4031170"/>
              <a:gd name="connsiteX94" fmla="*/ 2761583 w 6829615"/>
              <a:gd name="connsiteY94" fmla="*/ 2718149 h 4031170"/>
              <a:gd name="connsiteX95" fmla="*/ 2500313 w 6829615"/>
              <a:gd name="connsiteY95" fmla="*/ 3111532 h 4031170"/>
              <a:gd name="connsiteX96" fmla="*/ 2262378 w 6829615"/>
              <a:gd name="connsiteY96" fmla="*/ 2712149 h 4031170"/>
              <a:gd name="connsiteX97" fmla="*/ 2262378 w 6829615"/>
              <a:gd name="connsiteY97" fmla="*/ 2427446 h 4031170"/>
              <a:gd name="connsiteX98" fmla="*/ 2158460 w 6829615"/>
              <a:gd name="connsiteY98" fmla="*/ 2257139 h 4031170"/>
              <a:gd name="connsiteX99" fmla="*/ 2158460 w 6829615"/>
              <a:gd name="connsiteY99" fmla="*/ 1856708 h 4031170"/>
              <a:gd name="connsiteX100" fmla="*/ 1913192 w 6829615"/>
              <a:gd name="connsiteY100" fmla="*/ 1441323 h 4031170"/>
              <a:gd name="connsiteX101" fmla="*/ 2415635 w 6829615"/>
              <a:gd name="connsiteY101" fmla="*/ 1441323 h 4031170"/>
              <a:gd name="connsiteX102" fmla="*/ 2683859 w 6829615"/>
              <a:gd name="connsiteY102" fmla="*/ 1863090 h 4031170"/>
              <a:gd name="connsiteX103" fmla="*/ 2526887 w 6829615"/>
              <a:gd name="connsiteY103" fmla="*/ 2100072 h 4031170"/>
              <a:gd name="connsiteX104" fmla="*/ 2526887 w 6829615"/>
              <a:gd name="connsiteY104" fmla="*/ 2145125 h 4031170"/>
              <a:gd name="connsiteX105" fmla="*/ 2364962 w 6829615"/>
              <a:gd name="connsiteY105" fmla="*/ 2145125 h 4031170"/>
              <a:gd name="connsiteX106" fmla="*/ 2364962 w 6829615"/>
              <a:gd name="connsiteY106" fmla="*/ 2051399 h 4031170"/>
              <a:gd name="connsiteX107" fmla="*/ 2490788 w 6829615"/>
              <a:gd name="connsiteY107" fmla="*/ 1861280 h 4031170"/>
              <a:gd name="connsiteX108" fmla="*/ 2326672 w 6829615"/>
              <a:gd name="connsiteY108" fmla="*/ 1603248 h 4031170"/>
              <a:gd name="connsiteX109" fmla="*/ 2196846 w 6829615"/>
              <a:gd name="connsiteY109" fmla="*/ 1603248 h 4031170"/>
              <a:gd name="connsiteX110" fmla="*/ 2320385 w 6829615"/>
              <a:gd name="connsiteY110" fmla="*/ 1812417 h 4031170"/>
              <a:gd name="connsiteX111" fmla="*/ 2320385 w 6829615"/>
              <a:gd name="connsiteY111" fmla="*/ 2211705 h 4031170"/>
              <a:gd name="connsiteX112" fmla="*/ 2424303 w 6829615"/>
              <a:gd name="connsiteY112" fmla="*/ 2381917 h 4031170"/>
              <a:gd name="connsiteX113" fmla="*/ 2424303 w 6829615"/>
              <a:gd name="connsiteY113" fmla="*/ 2667572 h 4031170"/>
              <a:gd name="connsiteX114" fmla="*/ 2507742 w 6829615"/>
              <a:gd name="connsiteY114" fmla="*/ 2807684 h 4031170"/>
              <a:gd name="connsiteX115" fmla="*/ 2600325 w 6829615"/>
              <a:gd name="connsiteY115" fmla="*/ 2668334 h 4031170"/>
              <a:gd name="connsiteX116" fmla="*/ 2606040 w 6829615"/>
              <a:gd name="connsiteY116" fmla="*/ 2197894 h 4031170"/>
              <a:gd name="connsiteX117" fmla="*/ 2816066 w 6829615"/>
              <a:gd name="connsiteY117" fmla="*/ 1882902 h 4031170"/>
              <a:gd name="connsiteX118" fmla="*/ 2526887 w 6829615"/>
              <a:gd name="connsiteY118" fmla="*/ 1397794 h 4031170"/>
              <a:gd name="connsiteX119" fmla="*/ 2526887 w 6829615"/>
              <a:gd name="connsiteY119" fmla="*/ 1082897 h 4031170"/>
              <a:gd name="connsiteX120" fmla="*/ 2479358 w 6829615"/>
              <a:gd name="connsiteY120" fmla="*/ 1020223 h 4031170"/>
              <a:gd name="connsiteX121" fmla="*/ 2454497 w 6829615"/>
              <a:gd name="connsiteY121" fmla="*/ 1020223 h 4031170"/>
              <a:gd name="connsiteX122" fmla="*/ 2303145 w 6829615"/>
              <a:gd name="connsiteY122" fmla="*/ 1316831 h 4031170"/>
              <a:gd name="connsiteX123" fmla="*/ 759143 w 6829615"/>
              <a:gd name="connsiteY123" fmla="*/ 1315974 h 4031170"/>
              <a:gd name="connsiteX124" fmla="*/ 686562 w 6829615"/>
              <a:gd name="connsiteY124" fmla="*/ 1377315 h 4031170"/>
              <a:gd name="connsiteX125" fmla="*/ 602647 w 6829615"/>
              <a:gd name="connsiteY125" fmla="*/ 1378744 h 4031170"/>
              <a:gd name="connsiteX126" fmla="*/ 550259 w 6829615"/>
              <a:gd name="connsiteY126" fmla="*/ 1309402 h 4031170"/>
              <a:gd name="connsiteX127" fmla="*/ 545021 w 6829615"/>
              <a:gd name="connsiteY127" fmla="*/ 1058228 h 4031170"/>
              <a:gd name="connsiteX128" fmla="*/ 808958 w 6829615"/>
              <a:gd name="connsiteY128" fmla="*/ 557498 h 4031170"/>
              <a:gd name="connsiteX129" fmla="*/ 1063752 w 6829615"/>
              <a:gd name="connsiteY129" fmla="*/ 557498 h 4031170"/>
              <a:gd name="connsiteX130" fmla="*/ 1233583 w 6829615"/>
              <a:gd name="connsiteY130" fmla="*/ 874014 h 4031170"/>
              <a:gd name="connsiteX131" fmla="*/ 1923955 w 6829615"/>
              <a:gd name="connsiteY131" fmla="*/ 874014 h 4031170"/>
              <a:gd name="connsiteX132" fmla="*/ 2112264 w 6829615"/>
              <a:gd name="connsiteY132" fmla="*/ 543687 h 4031170"/>
              <a:gd name="connsiteX133" fmla="*/ 2721864 w 6829615"/>
              <a:gd name="connsiteY133" fmla="*/ 547021 h 4031170"/>
              <a:gd name="connsiteX134" fmla="*/ 2970371 w 6829615"/>
              <a:gd name="connsiteY134" fmla="*/ 911924 h 4031170"/>
              <a:gd name="connsiteX135" fmla="*/ 2959608 w 6829615"/>
              <a:gd name="connsiteY135" fmla="*/ 1198721 h 4031170"/>
              <a:gd name="connsiteX136" fmla="*/ 3230404 w 6829615"/>
              <a:gd name="connsiteY136" fmla="*/ 1642682 h 4031170"/>
              <a:gd name="connsiteX137" fmla="*/ 3747326 w 6829615"/>
              <a:gd name="connsiteY137" fmla="*/ 1644587 h 4031170"/>
              <a:gd name="connsiteX138" fmla="*/ 3541300 w 6829615"/>
              <a:gd name="connsiteY138" fmla="*/ 1991868 h 4031170"/>
              <a:gd name="connsiteX139" fmla="*/ 3252216 w 6829615"/>
              <a:gd name="connsiteY139" fmla="*/ 1993011 h 4031170"/>
              <a:gd name="connsiteX140" fmla="*/ 3047333 w 6829615"/>
              <a:gd name="connsiteY140" fmla="*/ 2336959 h 4031170"/>
              <a:gd name="connsiteX141" fmla="*/ 3044381 w 6829615"/>
              <a:gd name="connsiteY141" fmla="*/ 2783681 h 4031170"/>
              <a:gd name="connsiteX142" fmla="*/ 2685479 w 6829615"/>
              <a:gd name="connsiteY142" fmla="*/ 3357848 h 4031170"/>
              <a:gd name="connsiteX143" fmla="*/ 2685479 w 6829615"/>
              <a:gd name="connsiteY143" fmla="*/ 3542633 h 4031170"/>
              <a:gd name="connsiteX144" fmla="*/ 2572417 w 6829615"/>
              <a:gd name="connsiteY144" fmla="*/ 3729704 h 4031170"/>
              <a:gd name="connsiteX145" fmla="*/ 2429923 w 6829615"/>
              <a:gd name="connsiteY145" fmla="*/ 3729704 h 4031170"/>
              <a:gd name="connsiteX146" fmla="*/ 2262092 w 6829615"/>
              <a:gd name="connsiteY146" fmla="*/ 3510820 h 4031170"/>
              <a:gd name="connsiteX147" fmla="*/ 2262092 w 6829615"/>
              <a:gd name="connsiteY147" fmla="*/ 3249454 h 4031170"/>
              <a:gd name="connsiteX148" fmla="*/ 2009489 w 6829615"/>
              <a:gd name="connsiteY148" fmla="*/ 2827115 h 4031170"/>
              <a:gd name="connsiteX149" fmla="*/ 2009489 w 6829615"/>
              <a:gd name="connsiteY149" fmla="*/ 2579941 h 4031170"/>
              <a:gd name="connsiteX150" fmla="*/ 1868900 w 6829615"/>
              <a:gd name="connsiteY150" fmla="*/ 2338483 h 4031170"/>
              <a:gd name="connsiteX151" fmla="*/ 1868900 w 6829615"/>
              <a:gd name="connsiteY151" fmla="*/ 1931575 h 4031170"/>
              <a:gd name="connsiteX152" fmla="*/ 1692974 w 6829615"/>
              <a:gd name="connsiteY152" fmla="*/ 1611154 h 4031170"/>
              <a:gd name="connsiteX153" fmla="*/ 903827 w 6829615"/>
              <a:gd name="connsiteY153" fmla="*/ 1611154 h 4031170"/>
              <a:gd name="connsiteX154" fmla="*/ 800481 w 6829615"/>
              <a:gd name="connsiteY154" fmla="*/ 1746314 h 4031170"/>
              <a:gd name="connsiteX155" fmla="*/ 513398 w 6829615"/>
              <a:gd name="connsiteY155" fmla="*/ 1746314 h 4031170"/>
              <a:gd name="connsiteX156" fmla="*/ 267653 w 6829615"/>
              <a:gd name="connsiteY156" fmla="*/ 1391984 h 4031170"/>
              <a:gd name="connsiteX157" fmla="*/ 258413 w 6829615"/>
              <a:gd name="connsiteY157" fmla="*/ 954119 h 4031170"/>
              <a:gd name="connsiteX158" fmla="*/ 644843 w 6829615"/>
              <a:gd name="connsiteY158" fmla="*/ 269462 h 4031170"/>
              <a:gd name="connsiteX159" fmla="*/ 1195102 w 6829615"/>
              <a:gd name="connsiteY159" fmla="*/ 269462 h 4031170"/>
              <a:gd name="connsiteX160" fmla="*/ 1397984 w 6829615"/>
              <a:gd name="connsiteY160" fmla="*/ 616172 h 4031170"/>
              <a:gd name="connsiteX161" fmla="*/ 1777937 w 6829615"/>
              <a:gd name="connsiteY161" fmla="*/ 616172 h 4031170"/>
              <a:gd name="connsiteX162" fmla="*/ 1962722 w 6829615"/>
              <a:gd name="connsiteY162" fmla="*/ 278987 h 4031170"/>
              <a:gd name="connsiteX163" fmla="*/ 2831402 w 6829615"/>
              <a:gd name="connsiteY163" fmla="*/ 278987 h 4031170"/>
              <a:gd name="connsiteX164" fmla="*/ 3219545 w 6829615"/>
              <a:gd name="connsiteY164" fmla="*/ 815435 h 4031170"/>
              <a:gd name="connsiteX165" fmla="*/ 3219069 w 6829615"/>
              <a:gd name="connsiteY165" fmla="*/ 1140905 h 4031170"/>
              <a:gd name="connsiteX166" fmla="*/ 3378041 w 6829615"/>
              <a:gd name="connsiteY166" fmla="*/ 1414082 h 4031170"/>
              <a:gd name="connsiteX167" fmla="*/ 4152138 w 6829615"/>
              <a:gd name="connsiteY167" fmla="*/ 1414082 h 4031170"/>
              <a:gd name="connsiteX168" fmla="*/ 3689318 w 6829615"/>
              <a:gd name="connsiteY168" fmla="*/ 2223326 h 4031170"/>
              <a:gd name="connsiteX169" fmla="*/ 3462719 w 6829615"/>
              <a:gd name="connsiteY169" fmla="*/ 2220944 h 4031170"/>
              <a:gd name="connsiteX170" fmla="*/ 3312128 w 6829615"/>
              <a:gd name="connsiteY170" fmla="*/ 2458498 h 4031170"/>
              <a:gd name="connsiteX171" fmla="*/ 3312128 w 6829615"/>
              <a:gd name="connsiteY171" fmla="*/ 2864263 h 4031170"/>
              <a:gd name="connsiteX172" fmla="*/ 2926175 w 6829615"/>
              <a:gd name="connsiteY172" fmla="*/ 3469386 h 4031170"/>
              <a:gd name="connsiteX173" fmla="*/ 2926175 w 6829615"/>
              <a:gd name="connsiteY173" fmla="*/ 3685604 h 4031170"/>
              <a:gd name="connsiteX174" fmla="*/ 2718340 w 6829615"/>
              <a:gd name="connsiteY174" fmla="*/ 4031171 h 4031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829615" h="4031170">
                <a:moveTo>
                  <a:pt x="2718340" y="4031171"/>
                </a:moveTo>
                <a:lnTo>
                  <a:pt x="2288381" y="4028504"/>
                </a:lnTo>
                <a:lnTo>
                  <a:pt x="1978724" y="3663887"/>
                </a:lnTo>
                <a:lnTo>
                  <a:pt x="1978724" y="3314129"/>
                </a:lnTo>
                <a:lnTo>
                  <a:pt x="1742980" y="2885599"/>
                </a:lnTo>
                <a:lnTo>
                  <a:pt x="1743742" y="2627662"/>
                </a:lnTo>
                <a:lnTo>
                  <a:pt x="1603534" y="2383631"/>
                </a:lnTo>
                <a:lnTo>
                  <a:pt x="1603534" y="1988344"/>
                </a:lnTo>
                <a:lnTo>
                  <a:pt x="1563624" y="1916906"/>
                </a:lnTo>
                <a:lnTo>
                  <a:pt x="1009840" y="1916906"/>
                </a:lnTo>
                <a:lnTo>
                  <a:pt x="947833" y="2024443"/>
                </a:lnTo>
                <a:lnTo>
                  <a:pt x="351282" y="2024443"/>
                </a:lnTo>
                <a:lnTo>
                  <a:pt x="0" y="1478661"/>
                </a:lnTo>
                <a:lnTo>
                  <a:pt x="0" y="860965"/>
                </a:lnTo>
                <a:lnTo>
                  <a:pt x="512636" y="0"/>
                </a:lnTo>
                <a:lnTo>
                  <a:pt x="1361408" y="0"/>
                </a:lnTo>
                <a:lnTo>
                  <a:pt x="1537526" y="290417"/>
                </a:lnTo>
                <a:lnTo>
                  <a:pt x="1638967" y="289751"/>
                </a:lnTo>
                <a:lnTo>
                  <a:pt x="1798130" y="0"/>
                </a:lnTo>
                <a:lnTo>
                  <a:pt x="6829616" y="0"/>
                </a:lnTo>
                <a:lnTo>
                  <a:pt x="6829616" y="161925"/>
                </a:lnTo>
                <a:lnTo>
                  <a:pt x="1893951" y="161925"/>
                </a:lnTo>
                <a:lnTo>
                  <a:pt x="1735169" y="451104"/>
                </a:lnTo>
                <a:lnTo>
                  <a:pt x="1446752" y="452914"/>
                </a:lnTo>
                <a:lnTo>
                  <a:pt x="1270254" y="161925"/>
                </a:lnTo>
                <a:lnTo>
                  <a:pt x="604647" y="161925"/>
                </a:lnTo>
                <a:lnTo>
                  <a:pt x="161925" y="905447"/>
                </a:lnTo>
                <a:lnTo>
                  <a:pt x="161925" y="1431036"/>
                </a:lnTo>
                <a:lnTo>
                  <a:pt x="439674" y="1862518"/>
                </a:lnTo>
                <a:lnTo>
                  <a:pt x="854297" y="1862518"/>
                </a:lnTo>
                <a:lnTo>
                  <a:pt x="916305" y="1754981"/>
                </a:lnTo>
                <a:lnTo>
                  <a:pt x="1658684" y="1754981"/>
                </a:lnTo>
                <a:lnTo>
                  <a:pt x="1765459" y="1946148"/>
                </a:lnTo>
                <a:lnTo>
                  <a:pt x="1765459" y="2340388"/>
                </a:lnTo>
                <a:lnTo>
                  <a:pt x="1905762" y="2584704"/>
                </a:lnTo>
                <a:lnTo>
                  <a:pt x="1905000" y="2844260"/>
                </a:lnTo>
                <a:lnTo>
                  <a:pt x="2140649" y="3272504"/>
                </a:lnTo>
                <a:lnTo>
                  <a:pt x="2140649" y="3604451"/>
                </a:lnTo>
                <a:lnTo>
                  <a:pt x="2363724" y="3867055"/>
                </a:lnTo>
                <a:lnTo>
                  <a:pt x="2627090" y="3868674"/>
                </a:lnTo>
                <a:lnTo>
                  <a:pt x="2764250" y="3640646"/>
                </a:lnTo>
                <a:lnTo>
                  <a:pt x="2764250" y="3422047"/>
                </a:lnTo>
                <a:lnTo>
                  <a:pt x="3150203" y="2817019"/>
                </a:lnTo>
                <a:lnTo>
                  <a:pt x="3150203" y="2411444"/>
                </a:lnTo>
                <a:lnTo>
                  <a:pt x="3374231" y="2058067"/>
                </a:lnTo>
                <a:lnTo>
                  <a:pt x="3595973" y="2060448"/>
                </a:lnTo>
                <a:lnTo>
                  <a:pt x="3872960" y="1576007"/>
                </a:lnTo>
                <a:lnTo>
                  <a:pt x="3284982" y="1576007"/>
                </a:lnTo>
                <a:lnTo>
                  <a:pt x="3057049" y="1184529"/>
                </a:lnTo>
                <a:lnTo>
                  <a:pt x="3057525" y="867728"/>
                </a:lnTo>
                <a:lnTo>
                  <a:pt x="2748724" y="440912"/>
                </a:lnTo>
                <a:lnTo>
                  <a:pt x="2058638" y="440912"/>
                </a:lnTo>
                <a:lnTo>
                  <a:pt x="1873853" y="778097"/>
                </a:lnTo>
                <a:lnTo>
                  <a:pt x="1305116" y="778097"/>
                </a:lnTo>
                <a:lnTo>
                  <a:pt x="1102233" y="431387"/>
                </a:lnTo>
                <a:lnTo>
                  <a:pt x="739426" y="431387"/>
                </a:lnTo>
                <a:lnTo>
                  <a:pt x="421196" y="995077"/>
                </a:lnTo>
                <a:lnTo>
                  <a:pt x="428435" y="1339787"/>
                </a:lnTo>
                <a:lnTo>
                  <a:pt x="598075" y="1584389"/>
                </a:lnTo>
                <a:lnTo>
                  <a:pt x="720471" y="1584389"/>
                </a:lnTo>
                <a:lnTo>
                  <a:pt x="823817" y="1449229"/>
                </a:lnTo>
                <a:lnTo>
                  <a:pt x="1788795" y="1449229"/>
                </a:lnTo>
                <a:lnTo>
                  <a:pt x="2030825" y="1890046"/>
                </a:lnTo>
                <a:lnTo>
                  <a:pt x="2030825" y="2294763"/>
                </a:lnTo>
                <a:lnTo>
                  <a:pt x="2171414" y="2536222"/>
                </a:lnTo>
                <a:lnTo>
                  <a:pt x="2171414" y="2782348"/>
                </a:lnTo>
                <a:lnTo>
                  <a:pt x="2424017" y="3204782"/>
                </a:lnTo>
                <a:lnTo>
                  <a:pt x="2424017" y="3455861"/>
                </a:lnTo>
                <a:lnTo>
                  <a:pt x="2493740" y="3546824"/>
                </a:lnTo>
                <a:lnTo>
                  <a:pt x="2523554" y="3497485"/>
                </a:lnTo>
                <a:lnTo>
                  <a:pt x="2523554" y="3311366"/>
                </a:lnTo>
                <a:lnTo>
                  <a:pt x="2882741" y="2736723"/>
                </a:lnTo>
                <a:lnTo>
                  <a:pt x="2885694" y="2291906"/>
                </a:lnTo>
                <a:lnTo>
                  <a:pt x="3159919" y="1831372"/>
                </a:lnTo>
                <a:lnTo>
                  <a:pt x="3448907" y="1830324"/>
                </a:lnTo>
                <a:lnTo>
                  <a:pt x="3463671" y="1805464"/>
                </a:lnTo>
                <a:lnTo>
                  <a:pt x="3139345" y="1804226"/>
                </a:lnTo>
                <a:lnTo>
                  <a:pt x="2795969" y="1241489"/>
                </a:lnTo>
                <a:lnTo>
                  <a:pt x="2806637" y="959072"/>
                </a:lnTo>
                <a:lnTo>
                  <a:pt x="2635949" y="708470"/>
                </a:lnTo>
                <a:lnTo>
                  <a:pt x="2205990" y="706184"/>
                </a:lnTo>
                <a:lnTo>
                  <a:pt x="2018062" y="1035939"/>
                </a:lnTo>
                <a:lnTo>
                  <a:pt x="1136618" y="1035939"/>
                </a:lnTo>
                <a:lnTo>
                  <a:pt x="966883" y="719423"/>
                </a:lnTo>
                <a:lnTo>
                  <a:pt x="906685" y="719423"/>
                </a:lnTo>
                <a:lnTo>
                  <a:pt x="707708" y="1096709"/>
                </a:lnTo>
                <a:lnTo>
                  <a:pt x="708946" y="1153954"/>
                </a:lnTo>
                <a:lnTo>
                  <a:pt x="2203990" y="1154811"/>
                </a:lnTo>
                <a:lnTo>
                  <a:pt x="2355342" y="858298"/>
                </a:lnTo>
                <a:lnTo>
                  <a:pt x="2559749" y="858298"/>
                </a:lnTo>
                <a:lnTo>
                  <a:pt x="2688812" y="1028414"/>
                </a:lnTo>
                <a:lnTo>
                  <a:pt x="2688812" y="1353217"/>
                </a:lnTo>
                <a:lnTo>
                  <a:pt x="3007519" y="1887664"/>
                </a:lnTo>
                <a:lnTo>
                  <a:pt x="2767394" y="2247900"/>
                </a:lnTo>
                <a:lnTo>
                  <a:pt x="2761583" y="2718149"/>
                </a:lnTo>
                <a:lnTo>
                  <a:pt x="2500313" y="3111532"/>
                </a:lnTo>
                <a:lnTo>
                  <a:pt x="2262378" y="2712149"/>
                </a:lnTo>
                <a:lnTo>
                  <a:pt x="2262378" y="2427446"/>
                </a:lnTo>
                <a:lnTo>
                  <a:pt x="2158460" y="2257139"/>
                </a:lnTo>
                <a:lnTo>
                  <a:pt x="2158460" y="1856708"/>
                </a:lnTo>
                <a:lnTo>
                  <a:pt x="1913192" y="1441323"/>
                </a:lnTo>
                <a:lnTo>
                  <a:pt x="2415635" y="1441323"/>
                </a:lnTo>
                <a:lnTo>
                  <a:pt x="2683859" y="1863090"/>
                </a:lnTo>
                <a:lnTo>
                  <a:pt x="2526887" y="2100072"/>
                </a:lnTo>
                <a:lnTo>
                  <a:pt x="2526887" y="2145125"/>
                </a:lnTo>
                <a:lnTo>
                  <a:pt x="2364962" y="2145125"/>
                </a:lnTo>
                <a:lnTo>
                  <a:pt x="2364962" y="2051399"/>
                </a:lnTo>
                <a:lnTo>
                  <a:pt x="2490788" y="1861280"/>
                </a:lnTo>
                <a:lnTo>
                  <a:pt x="2326672" y="1603248"/>
                </a:lnTo>
                <a:lnTo>
                  <a:pt x="2196846" y="1603248"/>
                </a:lnTo>
                <a:lnTo>
                  <a:pt x="2320385" y="1812417"/>
                </a:lnTo>
                <a:lnTo>
                  <a:pt x="2320385" y="2211705"/>
                </a:lnTo>
                <a:lnTo>
                  <a:pt x="2424303" y="2381917"/>
                </a:lnTo>
                <a:lnTo>
                  <a:pt x="2424303" y="2667572"/>
                </a:lnTo>
                <a:lnTo>
                  <a:pt x="2507742" y="2807684"/>
                </a:lnTo>
                <a:lnTo>
                  <a:pt x="2600325" y="2668334"/>
                </a:lnTo>
                <a:lnTo>
                  <a:pt x="2606040" y="2197894"/>
                </a:lnTo>
                <a:lnTo>
                  <a:pt x="2816066" y="1882902"/>
                </a:lnTo>
                <a:lnTo>
                  <a:pt x="2526887" y="1397794"/>
                </a:lnTo>
                <a:lnTo>
                  <a:pt x="2526887" y="1082897"/>
                </a:lnTo>
                <a:lnTo>
                  <a:pt x="2479358" y="1020223"/>
                </a:lnTo>
                <a:lnTo>
                  <a:pt x="2454497" y="1020223"/>
                </a:lnTo>
                <a:lnTo>
                  <a:pt x="2303145" y="1316831"/>
                </a:lnTo>
                <a:lnTo>
                  <a:pt x="759143" y="1315974"/>
                </a:lnTo>
                <a:lnTo>
                  <a:pt x="686562" y="1377315"/>
                </a:lnTo>
                <a:lnTo>
                  <a:pt x="602647" y="1378744"/>
                </a:lnTo>
                <a:lnTo>
                  <a:pt x="550259" y="1309402"/>
                </a:lnTo>
                <a:lnTo>
                  <a:pt x="545021" y="1058228"/>
                </a:lnTo>
                <a:lnTo>
                  <a:pt x="808958" y="557498"/>
                </a:lnTo>
                <a:lnTo>
                  <a:pt x="1063752" y="557498"/>
                </a:lnTo>
                <a:lnTo>
                  <a:pt x="1233583" y="874014"/>
                </a:lnTo>
                <a:lnTo>
                  <a:pt x="1923955" y="874014"/>
                </a:lnTo>
                <a:lnTo>
                  <a:pt x="2112264" y="543687"/>
                </a:lnTo>
                <a:lnTo>
                  <a:pt x="2721864" y="547021"/>
                </a:lnTo>
                <a:lnTo>
                  <a:pt x="2970371" y="911924"/>
                </a:lnTo>
                <a:lnTo>
                  <a:pt x="2959608" y="1198721"/>
                </a:lnTo>
                <a:lnTo>
                  <a:pt x="3230404" y="1642682"/>
                </a:lnTo>
                <a:lnTo>
                  <a:pt x="3747326" y="1644587"/>
                </a:lnTo>
                <a:lnTo>
                  <a:pt x="3541300" y="1991868"/>
                </a:lnTo>
                <a:lnTo>
                  <a:pt x="3252216" y="1993011"/>
                </a:lnTo>
                <a:lnTo>
                  <a:pt x="3047333" y="2336959"/>
                </a:lnTo>
                <a:lnTo>
                  <a:pt x="3044381" y="2783681"/>
                </a:lnTo>
                <a:lnTo>
                  <a:pt x="2685479" y="3357848"/>
                </a:lnTo>
                <a:lnTo>
                  <a:pt x="2685479" y="3542633"/>
                </a:lnTo>
                <a:lnTo>
                  <a:pt x="2572417" y="3729704"/>
                </a:lnTo>
                <a:lnTo>
                  <a:pt x="2429923" y="3729704"/>
                </a:lnTo>
                <a:lnTo>
                  <a:pt x="2262092" y="3510820"/>
                </a:lnTo>
                <a:lnTo>
                  <a:pt x="2262092" y="3249454"/>
                </a:lnTo>
                <a:lnTo>
                  <a:pt x="2009489" y="2827115"/>
                </a:lnTo>
                <a:lnTo>
                  <a:pt x="2009489" y="2579941"/>
                </a:lnTo>
                <a:lnTo>
                  <a:pt x="1868900" y="2338483"/>
                </a:lnTo>
                <a:lnTo>
                  <a:pt x="1868900" y="1931575"/>
                </a:lnTo>
                <a:lnTo>
                  <a:pt x="1692974" y="1611154"/>
                </a:lnTo>
                <a:lnTo>
                  <a:pt x="903827" y="1611154"/>
                </a:lnTo>
                <a:lnTo>
                  <a:pt x="800481" y="1746314"/>
                </a:lnTo>
                <a:lnTo>
                  <a:pt x="513398" y="1746314"/>
                </a:lnTo>
                <a:lnTo>
                  <a:pt x="267653" y="1391984"/>
                </a:lnTo>
                <a:lnTo>
                  <a:pt x="258413" y="954119"/>
                </a:lnTo>
                <a:lnTo>
                  <a:pt x="644843" y="269462"/>
                </a:lnTo>
                <a:lnTo>
                  <a:pt x="1195102" y="269462"/>
                </a:lnTo>
                <a:lnTo>
                  <a:pt x="1397984" y="616172"/>
                </a:lnTo>
                <a:lnTo>
                  <a:pt x="1777937" y="616172"/>
                </a:lnTo>
                <a:lnTo>
                  <a:pt x="1962722" y="278987"/>
                </a:lnTo>
                <a:lnTo>
                  <a:pt x="2831402" y="278987"/>
                </a:lnTo>
                <a:lnTo>
                  <a:pt x="3219545" y="815435"/>
                </a:lnTo>
                <a:lnTo>
                  <a:pt x="3219069" y="1140905"/>
                </a:lnTo>
                <a:lnTo>
                  <a:pt x="3378041" y="1414082"/>
                </a:lnTo>
                <a:lnTo>
                  <a:pt x="4152138" y="1414082"/>
                </a:lnTo>
                <a:lnTo>
                  <a:pt x="3689318" y="2223326"/>
                </a:lnTo>
                <a:lnTo>
                  <a:pt x="3462719" y="2220944"/>
                </a:lnTo>
                <a:lnTo>
                  <a:pt x="3312128" y="2458498"/>
                </a:lnTo>
                <a:lnTo>
                  <a:pt x="3312128" y="2864263"/>
                </a:lnTo>
                <a:lnTo>
                  <a:pt x="2926175" y="3469386"/>
                </a:lnTo>
                <a:lnTo>
                  <a:pt x="2926175" y="3685604"/>
                </a:lnTo>
                <a:lnTo>
                  <a:pt x="2718340" y="4031171"/>
                </a:lnTo>
                <a:close/>
              </a:path>
            </a:pathLst>
          </a:custGeom>
          <a:solidFill>
            <a:srgbClr val="7DBA0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825"/>
          </a:p>
        </p:txBody>
      </p:sp>
    </p:spTree>
    <p:extLst>
      <p:ext uri="{BB962C8B-B14F-4D97-AF65-F5344CB8AC3E}">
        <p14:creationId xmlns:p14="http://schemas.microsoft.com/office/powerpoint/2010/main" val="42413633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1" y="1078100"/>
            <a:ext cx="7412385" cy="78483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1" y="3042909"/>
            <a:ext cx="2810385" cy="650151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  <p:pic>
        <p:nvPicPr>
          <p:cNvPr id="10" name="Picture 9" descr="A green train on a track&#10;&#10;Description automatically generated">
            <a:extLst>
              <a:ext uri="{FF2B5EF4-FFF2-40B4-BE49-F238E27FC236}">
                <a16:creationId xmlns:a16="http://schemas.microsoft.com/office/drawing/2014/main" id="{632EF9B6-B7F2-5B68-A22D-54C283B3FF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7297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02486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8551" y="1078100"/>
            <a:ext cx="5071264" cy="133882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4971" y="3952119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21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42321910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433" descr="Colourful cargo containers stacked with a worker standing">
            <a:extLst>
              <a:ext uri="{FF2B5EF4-FFF2-40B4-BE49-F238E27FC236}">
                <a16:creationId xmlns:a16="http://schemas.microsoft.com/office/drawing/2014/main" id="{77320EED-BBCB-8B40-2FBE-A4CA2CA7D0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1" y="1078100"/>
            <a:ext cx="7412385" cy="78483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1" y="3042909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4595952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rain tracks with train cars on each side&#10;&#10;Description automatically generated">
            <a:extLst>
              <a:ext uri="{FF2B5EF4-FFF2-40B4-BE49-F238E27FC236}">
                <a16:creationId xmlns:a16="http://schemas.microsoft.com/office/drawing/2014/main" id="{2ED9AAEA-3731-AD3D-0F78-72016945F3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271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4614" y="1239087"/>
            <a:ext cx="7412385" cy="78483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85615" y="3772255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8583563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pipes on a building&#10;&#10;Description automatically generated with medium confidence">
            <a:extLst>
              <a:ext uri="{FF2B5EF4-FFF2-40B4-BE49-F238E27FC236}">
                <a16:creationId xmlns:a16="http://schemas.microsoft.com/office/drawing/2014/main" id="{9EB74ED6-8907-4B51-479C-FDD3F66E7F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1" y="1078100"/>
            <a:ext cx="7412385" cy="78483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1" y="3042909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47190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5" descr="Top view of a wooden desk with a white keyboard, drawing plan and drawing compass, and pens.">
            <a:extLst>
              <a:ext uri="{FF2B5EF4-FFF2-40B4-BE49-F238E27FC236}">
                <a16:creationId xmlns:a16="http://schemas.microsoft.com/office/drawing/2014/main" id="{A49168BD-AB6E-E377-7CEA-0E769437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2971" y="1078100"/>
            <a:ext cx="7412385" cy="78483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2971" y="3042909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1820438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755" y="4945339"/>
            <a:ext cx="4856394" cy="553998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DF6E4E97-1E5E-6DDC-51DB-51A4B672C7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8757" y="5572294"/>
            <a:ext cx="3738139" cy="408683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here and here and here</a:t>
            </a: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21673023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3994C55-28DA-03C2-35BC-75F5D854F08B}"/>
              </a:ext>
            </a:extLst>
          </p:cNvPr>
          <p:cNvSpPr/>
          <p:nvPr userDrawn="1"/>
        </p:nvSpPr>
        <p:spPr>
          <a:xfrm>
            <a:off x="1" y="1"/>
            <a:ext cx="12192001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E6505-1432-E7D8-FDE1-5E4383D36C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2544" y="0"/>
            <a:ext cx="4909457" cy="6858257"/>
          </a:xfrm>
          <a:custGeom>
            <a:avLst/>
            <a:gdLst>
              <a:gd name="connsiteX0" fmla="*/ 0 w 4401300"/>
              <a:gd name="connsiteY0" fmla="*/ 0 h 6148388"/>
              <a:gd name="connsiteX1" fmla="*/ 4401300 w 4401300"/>
              <a:gd name="connsiteY1" fmla="*/ 0 h 6148388"/>
              <a:gd name="connsiteX2" fmla="*/ 4401300 w 4401300"/>
              <a:gd name="connsiteY2" fmla="*/ 6148388 h 6148388"/>
              <a:gd name="connsiteX3" fmla="*/ 3799566 w 4401300"/>
              <a:gd name="connsiteY3" fmla="*/ 6148388 h 614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1300" h="6148388">
                <a:moveTo>
                  <a:pt x="0" y="0"/>
                </a:moveTo>
                <a:lnTo>
                  <a:pt x="4401300" y="0"/>
                </a:lnTo>
                <a:lnTo>
                  <a:pt x="4401300" y="6148388"/>
                </a:lnTo>
                <a:lnTo>
                  <a:pt x="3799566" y="6148388"/>
                </a:lnTo>
                <a:close/>
              </a:path>
            </a:pathLst>
          </a:cu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615020BA-0B93-180E-3093-EAC3BCC73B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4" y="517638"/>
            <a:ext cx="5889054" cy="410136"/>
          </a:xfrm>
          <a:prstGeom prst="rect">
            <a:avLst/>
          </a:prstGeom>
        </p:spPr>
        <p:txBody>
          <a:bodyPr/>
          <a:lstStyle>
            <a:lvl1pPr>
              <a:defRPr sz="135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algn="l"/>
            <a:r>
              <a:rPr lang="en-GB" sz="1200"/>
              <a:t>Sub-heading text here and here and here and here</a:t>
            </a:r>
            <a:endParaRPr lang="en-GB" sz="1500"/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8CE118E7-1BAE-2BED-BA49-7E01CC506DEF}"/>
              </a:ext>
            </a:extLst>
          </p:cNvPr>
          <p:cNvSpPr/>
          <p:nvPr userDrawn="1"/>
        </p:nvSpPr>
        <p:spPr>
          <a:xfrm>
            <a:off x="11521843" y="6474758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2C509C7-F64D-8D3C-E43B-BAD58331BD3D}"/>
              </a:ext>
            </a:extLst>
          </p:cNvPr>
          <p:cNvSpPr/>
          <p:nvPr userDrawn="1"/>
        </p:nvSpPr>
        <p:spPr>
          <a:xfrm>
            <a:off x="11588594" y="6534856"/>
            <a:ext cx="520704" cy="214315"/>
          </a:xfrm>
          <a:prstGeom prst="rect">
            <a:avLst/>
          </a:prstGeom>
        </p:spPr>
        <p:txBody>
          <a:bodyPr vert="horz" lIns="0" tIns="0" rIns="0" bIns="34507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675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575" b="1">
              <a:solidFill>
                <a:schemeClr val="bg1"/>
              </a:solidFill>
              <a:latin typeface="Tahoma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9A9D43-FF02-9C81-1CFC-D9B244C575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5" y="152400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6" name="Graphic 64">
            <a:extLst>
              <a:ext uri="{FF2B5EF4-FFF2-40B4-BE49-F238E27FC236}">
                <a16:creationId xmlns:a16="http://schemas.microsoft.com/office/drawing/2014/main" id="{410252B1-98B5-8714-70E8-11601AFBFE16}"/>
              </a:ext>
            </a:extLst>
          </p:cNvPr>
          <p:cNvSpPr/>
          <p:nvPr userDrawn="1"/>
        </p:nvSpPr>
        <p:spPr>
          <a:xfrm>
            <a:off x="209511" y="923681"/>
            <a:ext cx="10009520" cy="1141126"/>
          </a:xfrm>
          <a:custGeom>
            <a:avLst/>
            <a:gdLst>
              <a:gd name="connsiteX0" fmla="*/ 7482459 w 7482459"/>
              <a:gd name="connsiteY0" fmla="*/ 0 h 963549"/>
              <a:gd name="connsiteX1" fmla="*/ 439579 w 7482459"/>
              <a:gd name="connsiteY1" fmla="*/ 0 h 963549"/>
              <a:gd name="connsiteX2" fmla="*/ 399955 w 7482459"/>
              <a:gd name="connsiteY2" fmla="*/ 72009 h 963549"/>
              <a:gd name="connsiteX3" fmla="*/ 351377 w 7482459"/>
              <a:gd name="connsiteY3" fmla="*/ 72390 h 963549"/>
              <a:gd name="connsiteX4" fmla="*/ 307467 w 7482459"/>
              <a:gd name="connsiteY4" fmla="*/ 0 h 963549"/>
              <a:gd name="connsiteX5" fmla="*/ 118967 w 7482459"/>
              <a:gd name="connsiteY5" fmla="*/ 0 h 963549"/>
              <a:gd name="connsiteX6" fmla="*/ 0 w 7482459"/>
              <a:gd name="connsiteY6" fmla="*/ 199739 h 963549"/>
              <a:gd name="connsiteX7" fmla="*/ 0 w 7482459"/>
              <a:gd name="connsiteY7" fmla="*/ 342138 h 963549"/>
              <a:gd name="connsiteX8" fmla="*/ 78296 w 7482459"/>
              <a:gd name="connsiteY8" fmla="*/ 463772 h 963549"/>
              <a:gd name="connsiteX9" fmla="*/ 204216 w 7482459"/>
              <a:gd name="connsiteY9" fmla="*/ 463772 h 963549"/>
              <a:gd name="connsiteX10" fmla="*/ 219647 w 7482459"/>
              <a:gd name="connsiteY10" fmla="*/ 437007 h 963549"/>
              <a:gd name="connsiteX11" fmla="*/ 381000 w 7482459"/>
              <a:gd name="connsiteY11" fmla="*/ 437007 h 963549"/>
              <a:gd name="connsiteX12" fmla="*/ 399288 w 7482459"/>
              <a:gd name="connsiteY12" fmla="*/ 469773 h 963549"/>
              <a:gd name="connsiteX13" fmla="*/ 399288 w 7482459"/>
              <a:gd name="connsiteY13" fmla="*/ 568071 h 963549"/>
              <a:gd name="connsiteX14" fmla="*/ 434245 w 7482459"/>
              <a:gd name="connsiteY14" fmla="*/ 628841 h 963549"/>
              <a:gd name="connsiteX15" fmla="*/ 434054 w 7482459"/>
              <a:gd name="connsiteY15" fmla="*/ 693325 h 963549"/>
              <a:gd name="connsiteX16" fmla="*/ 492728 w 7482459"/>
              <a:gd name="connsiteY16" fmla="*/ 800005 h 963549"/>
              <a:gd name="connsiteX17" fmla="*/ 492728 w 7482459"/>
              <a:gd name="connsiteY17" fmla="*/ 884873 h 963549"/>
              <a:gd name="connsiteX18" fmla="*/ 559118 w 7482459"/>
              <a:gd name="connsiteY18" fmla="*/ 962978 h 963549"/>
              <a:gd name="connsiteX19" fmla="*/ 645414 w 7482459"/>
              <a:gd name="connsiteY19" fmla="*/ 963549 h 963549"/>
              <a:gd name="connsiteX20" fmla="*/ 688372 w 7482459"/>
              <a:gd name="connsiteY20" fmla="*/ 892112 h 963549"/>
              <a:gd name="connsiteX21" fmla="*/ 688372 w 7482459"/>
              <a:gd name="connsiteY21" fmla="*/ 837914 h 963549"/>
              <a:gd name="connsiteX22" fmla="*/ 784479 w 7482459"/>
              <a:gd name="connsiteY22" fmla="*/ 687229 h 963549"/>
              <a:gd name="connsiteX23" fmla="*/ 784479 w 7482459"/>
              <a:gd name="connsiteY23" fmla="*/ 586169 h 963549"/>
              <a:gd name="connsiteX24" fmla="*/ 831152 w 7482459"/>
              <a:gd name="connsiteY24" fmla="*/ 512636 h 963549"/>
              <a:gd name="connsiteX25" fmla="*/ 886968 w 7482459"/>
              <a:gd name="connsiteY25" fmla="*/ 513207 h 963549"/>
              <a:gd name="connsiteX26" fmla="*/ 979075 w 7482459"/>
              <a:gd name="connsiteY26" fmla="*/ 352139 h 963549"/>
              <a:gd name="connsiteX27" fmla="*/ 809530 w 7482459"/>
              <a:gd name="connsiteY27" fmla="*/ 352139 h 963549"/>
              <a:gd name="connsiteX28" fmla="*/ 761333 w 7482459"/>
              <a:gd name="connsiteY28" fmla="*/ 269367 h 963549"/>
              <a:gd name="connsiteX29" fmla="*/ 761429 w 7482459"/>
              <a:gd name="connsiteY29" fmla="*/ 189357 h 963549"/>
              <a:gd name="connsiteX30" fmla="*/ 681419 w 7482459"/>
              <a:gd name="connsiteY30" fmla="*/ 77438 h 963549"/>
              <a:gd name="connsiteX31" fmla="*/ 655511 w 7482459"/>
              <a:gd name="connsiteY31" fmla="*/ 77438 h 963549"/>
              <a:gd name="connsiteX32" fmla="*/ 487299 w 7482459"/>
              <a:gd name="connsiteY32" fmla="*/ 77438 h 963549"/>
              <a:gd name="connsiteX33" fmla="*/ 443293 w 7482459"/>
              <a:gd name="connsiteY33" fmla="*/ 153448 h 963549"/>
              <a:gd name="connsiteX34" fmla="*/ 316421 w 7482459"/>
              <a:gd name="connsiteY34" fmla="*/ 153448 h 963549"/>
              <a:gd name="connsiteX35" fmla="*/ 265843 w 7482459"/>
              <a:gd name="connsiteY35" fmla="*/ 67056 h 963549"/>
              <a:gd name="connsiteX36" fmla="*/ 159639 w 7482459"/>
              <a:gd name="connsiteY36" fmla="*/ 67056 h 963549"/>
              <a:gd name="connsiteX37" fmla="*/ 71914 w 7482459"/>
              <a:gd name="connsiteY37" fmla="*/ 225457 h 963549"/>
              <a:gd name="connsiteX38" fmla="*/ 71914 w 7482459"/>
              <a:gd name="connsiteY38" fmla="*/ 311753 h 963549"/>
              <a:gd name="connsiteX39" fmla="*/ 121825 w 7482459"/>
              <a:gd name="connsiteY39" fmla="*/ 393192 h 963549"/>
              <a:gd name="connsiteX40" fmla="*/ 160687 w 7482459"/>
              <a:gd name="connsiteY40" fmla="*/ 393192 h 963549"/>
              <a:gd name="connsiteX41" fmla="*/ 173260 w 7482459"/>
              <a:gd name="connsiteY41" fmla="*/ 370332 h 963549"/>
              <a:gd name="connsiteX42" fmla="*/ 416433 w 7482459"/>
              <a:gd name="connsiteY42" fmla="*/ 370332 h 963549"/>
              <a:gd name="connsiteX43" fmla="*/ 465392 w 7482459"/>
              <a:gd name="connsiteY43" fmla="*/ 455676 h 963549"/>
              <a:gd name="connsiteX44" fmla="*/ 465392 w 7482459"/>
              <a:gd name="connsiteY44" fmla="*/ 556736 h 963549"/>
              <a:gd name="connsiteX45" fmla="*/ 500443 w 7482459"/>
              <a:gd name="connsiteY45" fmla="*/ 616839 h 963549"/>
              <a:gd name="connsiteX46" fmla="*/ 500443 w 7482459"/>
              <a:gd name="connsiteY46" fmla="*/ 678275 h 963549"/>
              <a:gd name="connsiteX47" fmla="*/ 563309 w 7482459"/>
              <a:gd name="connsiteY47" fmla="*/ 783527 h 963549"/>
              <a:gd name="connsiteX48" fmla="*/ 563309 w 7482459"/>
              <a:gd name="connsiteY48" fmla="*/ 847344 h 963549"/>
              <a:gd name="connsiteX49" fmla="*/ 594932 w 7482459"/>
              <a:gd name="connsiteY49" fmla="*/ 888492 h 963549"/>
              <a:gd name="connsiteX50" fmla="*/ 609124 w 7482459"/>
              <a:gd name="connsiteY50" fmla="*/ 888492 h 963549"/>
              <a:gd name="connsiteX51" fmla="*/ 628460 w 7482459"/>
              <a:gd name="connsiteY51" fmla="*/ 856488 h 963549"/>
              <a:gd name="connsiteX52" fmla="*/ 628460 w 7482459"/>
              <a:gd name="connsiteY52" fmla="*/ 810292 h 963549"/>
              <a:gd name="connsiteX53" fmla="*/ 717899 w 7482459"/>
              <a:gd name="connsiteY53" fmla="*/ 667226 h 963549"/>
              <a:gd name="connsiteX54" fmla="*/ 718566 w 7482459"/>
              <a:gd name="connsiteY54" fmla="*/ 556165 h 963549"/>
              <a:gd name="connsiteX55" fmla="*/ 790956 w 7482459"/>
              <a:gd name="connsiteY55" fmla="*/ 448056 h 963549"/>
              <a:gd name="connsiteX56" fmla="*/ 843725 w 7482459"/>
              <a:gd name="connsiteY56" fmla="*/ 447770 h 963549"/>
              <a:gd name="connsiteX57" fmla="*/ 861060 w 7482459"/>
              <a:gd name="connsiteY57" fmla="*/ 419957 h 963549"/>
              <a:gd name="connsiteX58" fmla="*/ 767239 w 7482459"/>
              <a:gd name="connsiteY58" fmla="*/ 419957 h 963549"/>
              <a:gd name="connsiteX59" fmla="*/ 691229 w 7482459"/>
              <a:gd name="connsiteY59" fmla="*/ 291370 h 963549"/>
              <a:gd name="connsiteX60" fmla="*/ 689229 w 7482459"/>
              <a:gd name="connsiteY60" fmla="*/ 210407 h 963549"/>
              <a:gd name="connsiteX61" fmla="*/ 640271 w 7482459"/>
              <a:gd name="connsiteY61" fmla="*/ 144399 h 963549"/>
              <a:gd name="connsiteX62" fmla="*/ 532352 w 7482459"/>
              <a:gd name="connsiteY62" fmla="*/ 143447 h 963549"/>
              <a:gd name="connsiteX63" fmla="*/ 483108 w 7482459"/>
              <a:gd name="connsiteY63" fmla="*/ 228410 h 963549"/>
              <a:gd name="connsiteX64" fmla="*/ 271082 w 7482459"/>
              <a:gd name="connsiteY64" fmla="*/ 228410 h 963549"/>
              <a:gd name="connsiteX65" fmla="*/ 227743 w 7482459"/>
              <a:gd name="connsiteY65" fmla="*/ 156782 h 963549"/>
              <a:gd name="connsiteX66" fmla="*/ 200216 w 7482459"/>
              <a:gd name="connsiteY66" fmla="*/ 156782 h 963549"/>
              <a:gd name="connsiteX67" fmla="*/ 152019 w 7482459"/>
              <a:gd name="connsiteY67" fmla="*/ 248126 h 963549"/>
              <a:gd name="connsiteX68" fmla="*/ 150781 w 7482459"/>
              <a:gd name="connsiteY68" fmla="*/ 298990 h 963549"/>
              <a:gd name="connsiteX69" fmla="*/ 153638 w 7482459"/>
              <a:gd name="connsiteY69" fmla="*/ 303562 h 963549"/>
              <a:gd name="connsiteX70" fmla="*/ 157353 w 7482459"/>
              <a:gd name="connsiteY70" fmla="*/ 303467 h 963549"/>
              <a:gd name="connsiteX71" fmla="*/ 161068 w 7482459"/>
              <a:gd name="connsiteY71" fmla="*/ 298990 h 963549"/>
              <a:gd name="connsiteX72" fmla="*/ 525304 w 7482459"/>
              <a:gd name="connsiteY72" fmla="*/ 299180 h 963549"/>
              <a:gd name="connsiteX73" fmla="*/ 578739 w 7482459"/>
              <a:gd name="connsiteY73" fmla="*/ 213741 h 963549"/>
              <a:gd name="connsiteX74" fmla="*/ 607314 w 7482459"/>
              <a:gd name="connsiteY74" fmla="*/ 213741 h 963549"/>
              <a:gd name="connsiteX75" fmla="*/ 629317 w 7482459"/>
              <a:gd name="connsiteY75" fmla="*/ 242697 h 963549"/>
              <a:gd name="connsiteX76" fmla="*/ 629317 w 7482459"/>
              <a:gd name="connsiteY76" fmla="*/ 322326 h 963549"/>
              <a:gd name="connsiteX77" fmla="*/ 704945 w 7482459"/>
              <a:gd name="connsiteY77" fmla="*/ 449294 h 963549"/>
              <a:gd name="connsiteX78" fmla="*/ 648938 w 7482459"/>
              <a:gd name="connsiteY78" fmla="*/ 533400 h 963549"/>
              <a:gd name="connsiteX79" fmla="*/ 647510 w 7482459"/>
              <a:gd name="connsiteY79" fmla="*/ 650558 h 963549"/>
              <a:gd name="connsiteX80" fmla="*/ 603409 w 7482459"/>
              <a:gd name="connsiteY80" fmla="*/ 716852 h 963549"/>
              <a:gd name="connsiteX81" fmla="*/ 563404 w 7482459"/>
              <a:gd name="connsiteY81" fmla="*/ 649700 h 963549"/>
              <a:gd name="connsiteX82" fmla="*/ 563404 w 7482459"/>
              <a:gd name="connsiteY82" fmla="*/ 578644 h 963549"/>
              <a:gd name="connsiteX83" fmla="*/ 537496 w 7482459"/>
              <a:gd name="connsiteY83" fmla="*/ 536258 h 963549"/>
              <a:gd name="connsiteX84" fmla="*/ 537496 w 7482459"/>
              <a:gd name="connsiteY84" fmla="*/ 436721 h 963549"/>
              <a:gd name="connsiteX85" fmla="*/ 498824 w 7482459"/>
              <a:gd name="connsiteY85" fmla="*/ 368999 h 963549"/>
              <a:gd name="connsiteX86" fmla="*/ 581120 w 7482459"/>
              <a:gd name="connsiteY86" fmla="*/ 368999 h 963549"/>
              <a:gd name="connsiteX87" fmla="*/ 627698 w 7482459"/>
              <a:gd name="connsiteY87" fmla="*/ 443579 h 963549"/>
              <a:gd name="connsiteX88" fmla="*/ 592550 w 7482459"/>
              <a:gd name="connsiteY88" fmla="*/ 496729 h 963549"/>
              <a:gd name="connsiteX0" fmla="*/ 8451880 w 8451880"/>
              <a:gd name="connsiteY0" fmla="*/ 0 h 963549"/>
              <a:gd name="connsiteX1" fmla="*/ 439579 w 8451880"/>
              <a:gd name="connsiteY1" fmla="*/ 0 h 963549"/>
              <a:gd name="connsiteX2" fmla="*/ 399955 w 8451880"/>
              <a:gd name="connsiteY2" fmla="*/ 72009 h 963549"/>
              <a:gd name="connsiteX3" fmla="*/ 351377 w 8451880"/>
              <a:gd name="connsiteY3" fmla="*/ 72390 h 963549"/>
              <a:gd name="connsiteX4" fmla="*/ 307467 w 8451880"/>
              <a:gd name="connsiteY4" fmla="*/ 0 h 963549"/>
              <a:gd name="connsiteX5" fmla="*/ 118967 w 8451880"/>
              <a:gd name="connsiteY5" fmla="*/ 0 h 963549"/>
              <a:gd name="connsiteX6" fmla="*/ 0 w 8451880"/>
              <a:gd name="connsiteY6" fmla="*/ 199739 h 963549"/>
              <a:gd name="connsiteX7" fmla="*/ 0 w 8451880"/>
              <a:gd name="connsiteY7" fmla="*/ 342138 h 963549"/>
              <a:gd name="connsiteX8" fmla="*/ 78296 w 8451880"/>
              <a:gd name="connsiteY8" fmla="*/ 463772 h 963549"/>
              <a:gd name="connsiteX9" fmla="*/ 204216 w 8451880"/>
              <a:gd name="connsiteY9" fmla="*/ 463772 h 963549"/>
              <a:gd name="connsiteX10" fmla="*/ 219647 w 8451880"/>
              <a:gd name="connsiteY10" fmla="*/ 437007 h 963549"/>
              <a:gd name="connsiteX11" fmla="*/ 381000 w 8451880"/>
              <a:gd name="connsiteY11" fmla="*/ 437007 h 963549"/>
              <a:gd name="connsiteX12" fmla="*/ 399288 w 8451880"/>
              <a:gd name="connsiteY12" fmla="*/ 469773 h 963549"/>
              <a:gd name="connsiteX13" fmla="*/ 399288 w 8451880"/>
              <a:gd name="connsiteY13" fmla="*/ 568071 h 963549"/>
              <a:gd name="connsiteX14" fmla="*/ 434245 w 8451880"/>
              <a:gd name="connsiteY14" fmla="*/ 628841 h 963549"/>
              <a:gd name="connsiteX15" fmla="*/ 434054 w 8451880"/>
              <a:gd name="connsiteY15" fmla="*/ 693325 h 963549"/>
              <a:gd name="connsiteX16" fmla="*/ 492728 w 8451880"/>
              <a:gd name="connsiteY16" fmla="*/ 800005 h 963549"/>
              <a:gd name="connsiteX17" fmla="*/ 492728 w 8451880"/>
              <a:gd name="connsiteY17" fmla="*/ 884873 h 963549"/>
              <a:gd name="connsiteX18" fmla="*/ 559118 w 8451880"/>
              <a:gd name="connsiteY18" fmla="*/ 962978 h 963549"/>
              <a:gd name="connsiteX19" fmla="*/ 645414 w 8451880"/>
              <a:gd name="connsiteY19" fmla="*/ 963549 h 963549"/>
              <a:gd name="connsiteX20" fmla="*/ 688372 w 8451880"/>
              <a:gd name="connsiteY20" fmla="*/ 892112 h 963549"/>
              <a:gd name="connsiteX21" fmla="*/ 688372 w 8451880"/>
              <a:gd name="connsiteY21" fmla="*/ 837914 h 963549"/>
              <a:gd name="connsiteX22" fmla="*/ 784479 w 8451880"/>
              <a:gd name="connsiteY22" fmla="*/ 687229 h 963549"/>
              <a:gd name="connsiteX23" fmla="*/ 784479 w 8451880"/>
              <a:gd name="connsiteY23" fmla="*/ 586169 h 963549"/>
              <a:gd name="connsiteX24" fmla="*/ 831152 w 8451880"/>
              <a:gd name="connsiteY24" fmla="*/ 512636 h 963549"/>
              <a:gd name="connsiteX25" fmla="*/ 886968 w 8451880"/>
              <a:gd name="connsiteY25" fmla="*/ 513207 h 963549"/>
              <a:gd name="connsiteX26" fmla="*/ 979075 w 8451880"/>
              <a:gd name="connsiteY26" fmla="*/ 352139 h 963549"/>
              <a:gd name="connsiteX27" fmla="*/ 809530 w 8451880"/>
              <a:gd name="connsiteY27" fmla="*/ 352139 h 963549"/>
              <a:gd name="connsiteX28" fmla="*/ 761333 w 8451880"/>
              <a:gd name="connsiteY28" fmla="*/ 269367 h 963549"/>
              <a:gd name="connsiteX29" fmla="*/ 761429 w 8451880"/>
              <a:gd name="connsiteY29" fmla="*/ 189357 h 963549"/>
              <a:gd name="connsiteX30" fmla="*/ 681419 w 8451880"/>
              <a:gd name="connsiteY30" fmla="*/ 77438 h 963549"/>
              <a:gd name="connsiteX31" fmla="*/ 655511 w 8451880"/>
              <a:gd name="connsiteY31" fmla="*/ 77438 h 963549"/>
              <a:gd name="connsiteX32" fmla="*/ 487299 w 8451880"/>
              <a:gd name="connsiteY32" fmla="*/ 77438 h 963549"/>
              <a:gd name="connsiteX33" fmla="*/ 443293 w 8451880"/>
              <a:gd name="connsiteY33" fmla="*/ 153448 h 963549"/>
              <a:gd name="connsiteX34" fmla="*/ 316421 w 8451880"/>
              <a:gd name="connsiteY34" fmla="*/ 153448 h 963549"/>
              <a:gd name="connsiteX35" fmla="*/ 265843 w 8451880"/>
              <a:gd name="connsiteY35" fmla="*/ 67056 h 963549"/>
              <a:gd name="connsiteX36" fmla="*/ 159639 w 8451880"/>
              <a:gd name="connsiteY36" fmla="*/ 67056 h 963549"/>
              <a:gd name="connsiteX37" fmla="*/ 71914 w 8451880"/>
              <a:gd name="connsiteY37" fmla="*/ 225457 h 963549"/>
              <a:gd name="connsiteX38" fmla="*/ 71914 w 8451880"/>
              <a:gd name="connsiteY38" fmla="*/ 311753 h 963549"/>
              <a:gd name="connsiteX39" fmla="*/ 121825 w 8451880"/>
              <a:gd name="connsiteY39" fmla="*/ 393192 h 963549"/>
              <a:gd name="connsiteX40" fmla="*/ 160687 w 8451880"/>
              <a:gd name="connsiteY40" fmla="*/ 393192 h 963549"/>
              <a:gd name="connsiteX41" fmla="*/ 173260 w 8451880"/>
              <a:gd name="connsiteY41" fmla="*/ 370332 h 963549"/>
              <a:gd name="connsiteX42" fmla="*/ 416433 w 8451880"/>
              <a:gd name="connsiteY42" fmla="*/ 370332 h 963549"/>
              <a:gd name="connsiteX43" fmla="*/ 465392 w 8451880"/>
              <a:gd name="connsiteY43" fmla="*/ 455676 h 963549"/>
              <a:gd name="connsiteX44" fmla="*/ 465392 w 8451880"/>
              <a:gd name="connsiteY44" fmla="*/ 556736 h 963549"/>
              <a:gd name="connsiteX45" fmla="*/ 500443 w 8451880"/>
              <a:gd name="connsiteY45" fmla="*/ 616839 h 963549"/>
              <a:gd name="connsiteX46" fmla="*/ 500443 w 8451880"/>
              <a:gd name="connsiteY46" fmla="*/ 678275 h 963549"/>
              <a:gd name="connsiteX47" fmla="*/ 563309 w 8451880"/>
              <a:gd name="connsiteY47" fmla="*/ 783527 h 963549"/>
              <a:gd name="connsiteX48" fmla="*/ 563309 w 8451880"/>
              <a:gd name="connsiteY48" fmla="*/ 847344 h 963549"/>
              <a:gd name="connsiteX49" fmla="*/ 594932 w 8451880"/>
              <a:gd name="connsiteY49" fmla="*/ 888492 h 963549"/>
              <a:gd name="connsiteX50" fmla="*/ 609124 w 8451880"/>
              <a:gd name="connsiteY50" fmla="*/ 888492 h 963549"/>
              <a:gd name="connsiteX51" fmla="*/ 628460 w 8451880"/>
              <a:gd name="connsiteY51" fmla="*/ 856488 h 963549"/>
              <a:gd name="connsiteX52" fmla="*/ 628460 w 8451880"/>
              <a:gd name="connsiteY52" fmla="*/ 810292 h 963549"/>
              <a:gd name="connsiteX53" fmla="*/ 717899 w 8451880"/>
              <a:gd name="connsiteY53" fmla="*/ 667226 h 963549"/>
              <a:gd name="connsiteX54" fmla="*/ 718566 w 8451880"/>
              <a:gd name="connsiteY54" fmla="*/ 556165 h 963549"/>
              <a:gd name="connsiteX55" fmla="*/ 790956 w 8451880"/>
              <a:gd name="connsiteY55" fmla="*/ 448056 h 963549"/>
              <a:gd name="connsiteX56" fmla="*/ 843725 w 8451880"/>
              <a:gd name="connsiteY56" fmla="*/ 447770 h 963549"/>
              <a:gd name="connsiteX57" fmla="*/ 861060 w 8451880"/>
              <a:gd name="connsiteY57" fmla="*/ 419957 h 963549"/>
              <a:gd name="connsiteX58" fmla="*/ 767239 w 8451880"/>
              <a:gd name="connsiteY58" fmla="*/ 419957 h 963549"/>
              <a:gd name="connsiteX59" fmla="*/ 691229 w 8451880"/>
              <a:gd name="connsiteY59" fmla="*/ 291370 h 963549"/>
              <a:gd name="connsiteX60" fmla="*/ 689229 w 8451880"/>
              <a:gd name="connsiteY60" fmla="*/ 210407 h 963549"/>
              <a:gd name="connsiteX61" fmla="*/ 640271 w 8451880"/>
              <a:gd name="connsiteY61" fmla="*/ 144399 h 963549"/>
              <a:gd name="connsiteX62" fmla="*/ 532352 w 8451880"/>
              <a:gd name="connsiteY62" fmla="*/ 143447 h 963549"/>
              <a:gd name="connsiteX63" fmla="*/ 483108 w 8451880"/>
              <a:gd name="connsiteY63" fmla="*/ 228410 h 963549"/>
              <a:gd name="connsiteX64" fmla="*/ 271082 w 8451880"/>
              <a:gd name="connsiteY64" fmla="*/ 228410 h 963549"/>
              <a:gd name="connsiteX65" fmla="*/ 227743 w 8451880"/>
              <a:gd name="connsiteY65" fmla="*/ 156782 h 963549"/>
              <a:gd name="connsiteX66" fmla="*/ 200216 w 8451880"/>
              <a:gd name="connsiteY66" fmla="*/ 156782 h 963549"/>
              <a:gd name="connsiteX67" fmla="*/ 152019 w 8451880"/>
              <a:gd name="connsiteY67" fmla="*/ 248126 h 963549"/>
              <a:gd name="connsiteX68" fmla="*/ 150781 w 8451880"/>
              <a:gd name="connsiteY68" fmla="*/ 298990 h 963549"/>
              <a:gd name="connsiteX69" fmla="*/ 153638 w 8451880"/>
              <a:gd name="connsiteY69" fmla="*/ 303562 h 963549"/>
              <a:gd name="connsiteX70" fmla="*/ 157353 w 8451880"/>
              <a:gd name="connsiteY70" fmla="*/ 303467 h 963549"/>
              <a:gd name="connsiteX71" fmla="*/ 161068 w 8451880"/>
              <a:gd name="connsiteY71" fmla="*/ 298990 h 963549"/>
              <a:gd name="connsiteX72" fmla="*/ 525304 w 8451880"/>
              <a:gd name="connsiteY72" fmla="*/ 299180 h 963549"/>
              <a:gd name="connsiteX73" fmla="*/ 578739 w 8451880"/>
              <a:gd name="connsiteY73" fmla="*/ 213741 h 963549"/>
              <a:gd name="connsiteX74" fmla="*/ 607314 w 8451880"/>
              <a:gd name="connsiteY74" fmla="*/ 213741 h 963549"/>
              <a:gd name="connsiteX75" fmla="*/ 629317 w 8451880"/>
              <a:gd name="connsiteY75" fmla="*/ 242697 h 963549"/>
              <a:gd name="connsiteX76" fmla="*/ 629317 w 8451880"/>
              <a:gd name="connsiteY76" fmla="*/ 322326 h 963549"/>
              <a:gd name="connsiteX77" fmla="*/ 704945 w 8451880"/>
              <a:gd name="connsiteY77" fmla="*/ 449294 h 963549"/>
              <a:gd name="connsiteX78" fmla="*/ 648938 w 8451880"/>
              <a:gd name="connsiteY78" fmla="*/ 533400 h 963549"/>
              <a:gd name="connsiteX79" fmla="*/ 647510 w 8451880"/>
              <a:gd name="connsiteY79" fmla="*/ 650558 h 963549"/>
              <a:gd name="connsiteX80" fmla="*/ 603409 w 8451880"/>
              <a:gd name="connsiteY80" fmla="*/ 716852 h 963549"/>
              <a:gd name="connsiteX81" fmla="*/ 563404 w 8451880"/>
              <a:gd name="connsiteY81" fmla="*/ 649700 h 963549"/>
              <a:gd name="connsiteX82" fmla="*/ 563404 w 8451880"/>
              <a:gd name="connsiteY82" fmla="*/ 578644 h 963549"/>
              <a:gd name="connsiteX83" fmla="*/ 537496 w 8451880"/>
              <a:gd name="connsiteY83" fmla="*/ 536258 h 963549"/>
              <a:gd name="connsiteX84" fmla="*/ 537496 w 8451880"/>
              <a:gd name="connsiteY84" fmla="*/ 436721 h 963549"/>
              <a:gd name="connsiteX85" fmla="*/ 498824 w 8451880"/>
              <a:gd name="connsiteY85" fmla="*/ 368999 h 963549"/>
              <a:gd name="connsiteX86" fmla="*/ 581120 w 8451880"/>
              <a:gd name="connsiteY86" fmla="*/ 368999 h 963549"/>
              <a:gd name="connsiteX87" fmla="*/ 627698 w 8451880"/>
              <a:gd name="connsiteY87" fmla="*/ 443579 h 963549"/>
              <a:gd name="connsiteX88" fmla="*/ 592550 w 8451880"/>
              <a:gd name="connsiteY88" fmla="*/ 496729 h 9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8451880" h="963549">
                <a:moveTo>
                  <a:pt x="8451880" y="0"/>
                </a:moveTo>
                <a:lnTo>
                  <a:pt x="439579" y="0"/>
                </a:lnTo>
                <a:lnTo>
                  <a:pt x="399955" y="72009"/>
                </a:lnTo>
                <a:lnTo>
                  <a:pt x="351377" y="72390"/>
                </a:lnTo>
                <a:lnTo>
                  <a:pt x="307467" y="0"/>
                </a:lnTo>
                <a:lnTo>
                  <a:pt x="118967" y="0"/>
                </a:lnTo>
                <a:lnTo>
                  <a:pt x="0" y="199739"/>
                </a:lnTo>
                <a:lnTo>
                  <a:pt x="0" y="342138"/>
                </a:lnTo>
                <a:lnTo>
                  <a:pt x="78296" y="463772"/>
                </a:lnTo>
                <a:lnTo>
                  <a:pt x="204216" y="463772"/>
                </a:lnTo>
                <a:lnTo>
                  <a:pt x="219647" y="437007"/>
                </a:lnTo>
                <a:lnTo>
                  <a:pt x="381000" y="437007"/>
                </a:lnTo>
                <a:lnTo>
                  <a:pt x="399288" y="469773"/>
                </a:lnTo>
                <a:lnTo>
                  <a:pt x="399288" y="568071"/>
                </a:lnTo>
                <a:lnTo>
                  <a:pt x="434245" y="628841"/>
                </a:lnTo>
                <a:cubicBezTo>
                  <a:pt x="434181" y="650336"/>
                  <a:pt x="434118" y="671830"/>
                  <a:pt x="434054" y="693325"/>
                </a:cubicBezTo>
                <a:lnTo>
                  <a:pt x="492728" y="800005"/>
                </a:lnTo>
                <a:lnTo>
                  <a:pt x="492728" y="884873"/>
                </a:lnTo>
                <a:lnTo>
                  <a:pt x="559118" y="962978"/>
                </a:lnTo>
                <a:lnTo>
                  <a:pt x="645414" y="963549"/>
                </a:lnTo>
                <a:lnTo>
                  <a:pt x="688372" y="892112"/>
                </a:lnTo>
                <a:lnTo>
                  <a:pt x="688372" y="837914"/>
                </a:lnTo>
                <a:lnTo>
                  <a:pt x="784479" y="687229"/>
                </a:lnTo>
                <a:lnTo>
                  <a:pt x="784479" y="586169"/>
                </a:lnTo>
                <a:lnTo>
                  <a:pt x="831152" y="512636"/>
                </a:lnTo>
                <a:lnTo>
                  <a:pt x="886968" y="513207"/>
                </a:lnTo>
                <a:lnTo>
                  <a:pt x="979075" y="352139"/>
                </a:lnTo>
                <a:lnTo>
                  <a:pt x="809530" y="352139"/>
                </a:lnTo>
                <a:lnTo>
                  <a:pt x="761333" y="269367"/>
                </a:lnTo>
                <a:lnTo>
                  <a:pt x="761429" y="189357"/>
                </a:lnTo>
                <a:lnTo>
                  <a:pt x="681419" y="77438"/>
                </a:lnTo>
                <a:lnTo>
                  <a:pt x="655511" y="77438"/>
                </a:lnTo>
                <a:lnTo>
                  <a:pt x="487299" y="77438"/>
                </a:lnTo>
                <a:lnTo>
                  <a:pt x="443293" y="153448"/>
                </a:lnTo>
                <a:lnTo>
                  <a:pt x="316421" y="153448"/>
                </a:lnTo>
                <a:lnTo>
                  <a:pt x="265843" y="67056"/>
                </a:lnTo>
                <a:lnTo>
                  <a:pt x="159639" y="67056"/>
                </a:lnTo>
                <a:lnTo>
                  <a:pt x="71914" y="225457"/>
                </a:lnTo>
                <a:lnTo>
                  <a:pt x="71914" y="311753"/>
                </a:lnTo>
                <a:lnTo>
                  <a:pt x="121825" y="393192"/>
                </a:lnTo>
                <a:lnTo>
                  <a:pt x="160687" y="393192"/>
                </a:lnTo>
                <a:lnTo>
                  <a:pt x="173260" y="370332"/>
                </a:lnTo>
                <a:lnTo>
                  <a:pt x="416433" y="370332"/>
                </a:lnTo>
                <a:lnTo>
                  <a:pt x="465392" y="455676"/>
                </a:lnTo>
                <a:lnTo>
                  <a:pt x="465392" y="556736"/>
                </a:lnTo>
                <a:lnTo>
                  <a:pt x="500443" y="616839"/>
                </a:lnTo>
                <a:lnTo>
                  <a:pt x="500443" y="678275"/>
                </a:lnTo>
                <a:lnTo>
                  <a:pt x="563309" y="783527"/>
                </a:lnTo>
                <a:lnTo>
                  <a:pt x="563309" y="847344"/>
                </a:lnTo>
                <a:lnTo>
                  <a:pt x="594932" y="888492"/>
                </a:lnTo>
                <a:lnTo>
                  <a:pt x="609124" y="888492"/>
                </a:lnTo>
                <a:lnTo>
                  <a:pt x="628460" y="856488"/>
                </a:lnTo>
                <a:lnTo>
                  <a:pt x="628460" y="810292"/>
                </a:lnTo>
                <a:lnTo>
                  <a:pt x="717899" y="667226"/>
                </a:lnTo>
                <a:cubicBezTo>
                  <a:pt x="718121" y="630206"/>
                  <a:pt x="718344" y="593185"/>
                  <a:pt x="718566" y="556165"/>
                </a:cubicBezTo>
                <a:lnTo>
                  <a:pt x="790956" y="448056"/>
                </a:lnTo>
                <a:lnTo>
                  <a:pt x="843725" y="447770"/>
                </a:lnTo>
                <a:lnTo>
                  <a:pt x="861060" y="419957"/>
                </a:lnTo>
                <a:lnTo>
                  <a:pt x="767239" y="419957"/>
                </a:lnTo>
                <a:lnTo>
                  <a:pt x="691229" y="291370"/>
                </a:lnTo>
                <a:cubicBezTo>
                  <a:pt x="690562" y="264382"/>
                  <a:pt x="689896" y="237395"/>
                  <a:pt x="689229" y="210407"/>
                </a:cubicBezTo>
                <a:lnTo>
                  <a:pt x="640271" y="144399"/>
                </a:lnTo>
                <a:lnTo>
                  <a:pt x="532352" y="143447"/>
                </a:lnTo>
                <a:lnTo>
                  <a:pt x="483108" y="228410"/>
                </a:lnTo>
                <a:lnTo>
                  <a:pt x="271082" y="228410"/>
                </a:lnTo>
                <a:lnTo>
                  <a:pt x="227743" y="156782"/>
                </a:lnTo>
                <a:lnTo>
                  <a:pt x="200216" y="156782"/>
                </a:lnTo>
                <a:lnTo>
                  <a:pt x="152019" y="248126"/>
                </a:lnTo>
                <a:cubicBezTo>
                  <a:pt x="151606" y="265081"/>
                  <a:pt x="151194" y="282035"/>
                  <a:pt x="150781" y="298990"/>
                </a:cubicBezTo>
                <a:lnTo>
                  <a:pt x="153638" y="303562"/>
                </a:lnTo>
                <a:lnTo>
                  <a:pt x="157353" y="303467"/>
                </a:lnTo>
                <a:lnTo>
                  <a:pt x="161068" y="298990"/>
                </a:lnTo>
                <a:lnTo>
                  <a:pt x="525304" y="299180"/>
                </a:lnTo>
                <a:lnTo>
                  <a:pt x="578739" y="213741"/>
                </a:lnTo>
                <a:lnTo>
                  <a:pt x="607314" y="213741"/>
                </a:lnTo>
                <a:lnTo>
                  <a:pt x="629317" y="242697"/>
                </a:lnTo>
                <a:lnTo>
                  <a:pt x="629317" y="322326"/>
                </a:lnTo>
                <a:lnTo>
                  <a:pt x="704945" y="449294"/>
                </a:lnTo>
                <a:lnTo>
                  <a:pt x="648938" y="533400"/>
                </a:lnTo>
                <a:lnTo>
                  <a:pt x="647510" y="650558"/>
                </a:lnTo>
                <a:lnTo>
                  <a:pt x="603409" y="716852"/>
                </a:lnTo>
                <a:lnTo>
                  <a:pt x="563404" y="649700"/>
                </a:lnTo>
                <a:lnTo>
                  <a:pt x="563404" y="578644"/>
                </a:lnTo>
                <a:lnTo>
                  <a:pt x="537496" y="536258"/>
                </a:lnTo>
                <a:lnTo>
                  <a:pt x="537496" y="436721"/>
                </a:lnTo>
                <a:lnTo>
                  <a:pt x="498824" y="368999"/>
                </a:lnTo>
                <a:lnTo>
                  <a:pt x="581120" y="368999"/>
                </a:lnTo>
                <a:lnTo>
                  <a:pt x="627698" y="443579"/>
                </a:lnTo>
                <a:lnTo>
                  <a:pt x="592550" y="496729"/>
                </a:lnTo>
              </a:path>
            </a:pathLst>
          </a:custGeom>
          <a:noFill/>
          <a:ln w="7144" cap="flat">
            <a:solidFill>
              <a:srgbClr val="E63C2B"/>
            </a:solidFill>
            <a:prstDash val="solid"/>
            <a:miter/>
          </a:ln>
        </p:spPr>
        <p:txBody>
          <a:bodyPr rtlCol="0" anchor="ctr"/>
          <a:lstStyle/>
          <a:p>
            <a:endParaRPr lang="en-US" sz="825"/>
          </a:p>
        </p:txBody>
      </p:sp>
    </p:spTree>
    <p:extLst>
      <p:ext uri="{BB962C8B-B14F-4D97-AF65-F5344CB8AC3E}">
        <p14:creationId xmlns:p14="http://schemas.microsoft.com/office/powerpoint/2010/main" val="41219814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C4A12B0-5BA2-5100-AAD4-E12E3C1737AF}"/>
              </a:ext>
            </a:extLst>
          </p:cNvPr>
          <p:cNvSpPr/>
          <p:nvPr userDrawn="1"/>
        </p:nvSpPr>
        <p:spPr>
          <a:xfrm>
            <a:off x="1" y="1"/>
            <a:ext cx="12192001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29B7C479-2D3F-2960-139A-D5BB63A41E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2544" y="0"/>
            <a:ext cx="4909457" cy="6858257"/>
          </a:xfrm>
          <a:custGeom>
            <a:avLst/>
            <a:gdLst>
              <a:gd name="connsiteX0" fmla="*/ 0 w 4401300"/>
              <a:gd name="connsiteY0" fmla="*/ 0 h 6148388"/>
              <a:gd name="connsiteX1" fmla="*/ 4401300 w 4401300"/>
              <a:gd name="connsiteY1" fmla="*/ 0 h 6148388"/>
              <a:gd name="connsiteX2" fmla="*/ 4401300 w 4401300"/>
              <a:gd name="connsiteY2" fmla="*/ 6148388 h 6148388"/>
              <a:gd name="connsiteX3" fmla="*/ 3799566 w 4401300"/>
              <a:gd name="connsiteY3" fmla="*/ 6148388 h 614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1300" h="6148388">
                <a:moveTo>
                  <a:pt x="0" y="0"/>
                </a:moveTo>
                <a:lnTo>
                  <a:pt x="4401300" y="0"/>
                </a:lnTo>
                <a:lnTo>
                  <a:pt x="4401300" y="6148388"/>
                </a:lnTo>
                <a:lnTo>
                  <a:pt x="3799566" y="6148388"/>
                </a:lnTo>
                <a:close/>
              </a:path>
            </a:pathLst>
          </a:cu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FD2AA106-02DD-9456-5F7D-D1D25492CDB8}"/>
              </a:ext>
            </a:extLst>
          </p:cNvPr>
          <p:cNvSpPr/>
          <p:nvPr userDrawn="1"/>
        </p:nvSpPr>
        <p:spPr>
          <a:xfrm>
            <a:off x="11521843" y="6474758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D950A5-2828-221A-996F-175C05E4BB43}"/>
              </a:ext>
            </a:extLst>
          </p:cNvPr>
          <p:cNvSpPr/>
          <p:nvPr userDrawn="1"/>
        </p:nvSpPr>
        <p:spPr>
          <a:xfrm>
            <a:off x="11588594" y="6534856"/>
            <a:ext cx="520704" cy="214315"/>
          </a:xfrm>
          <a:prstGeom prst="rect">
            <a:avLst/>
          </a:prstGeom>
        </p:spPr>
        <p:txBody>
          <a:bodyPr vert="horz" lIns="0" tIns="0" rIns="0" bIns="34507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675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575" b="1">
              <a:solidFill>
                <a:schemeClr val="bg1"/>
              </a:solidFill>
              <a:latin typeface="Tahoma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470FF30-5A43-9A43-5905-5F595AC73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796" y="2844801"/>
            <a:ext cx="6212351" cy="4101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0A8EDC15-9113-2840-B13A-8731DFA92A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3794" y="3548530"/>
            <a:ext cx="5889054" cy="410136"/>
          </a:xfrm>
          <a:prstGeom prst="rect">
            <a:avLst/>
          </a:prstGeom>
        </p:spPr>
        <p:txBody>
          <a:bodyPr wrap="none"/>
          <a:lstStyle>
            <a:lvl1pPr>
              <a:defRPr sz="12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algn="l"/>
            <a:r>
              <a:rPr lang="en-GB" sz="1200"/>
              <a:t>Sub-heading text here and here and here and here</a:t>
            </a:r>
            <a:endParaRPr lang="en-GB" sz="1500"/>
          </a:p>
        </p:txBody>
      </p:sp>
    </p:spTree>
    <p:extLst>
      <p:ext uri="{BB962C8B-B14F-4D97-AF65-F5344CB8AC3E}">
        <p14:creationId xmlns:p14="http://schemas.microsoft.com/office/powerpoint/2010/main" val="26402281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2D027E8-2D4E-9357-81F5-234479FBBA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3634" y="528118"/>
            <a:ext cx="5907785" cy="291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algn="l"/>
            <a:r>
              <a:rPr lang="en-GB" sz="1200"/>
              <a:t>Sub-heading text here and here and here and here</a:t>
            </a:r>
            <a:endParaRPr lang="en-GB" sz="1500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F0BAC52-79D1-6BFD-F36B-C7F59E7AB7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8755" y="1778001"/>
            <a:ext cx="42037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6492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277956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45649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690834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1EFCF2-014A-C6FC-8AA7-CCC868BA8A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5" y="158786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7253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2D027E8-2D4E-9357-81F5-234479FBBA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6" y="845445"/>
            <a:ext cx="10079724" cy="291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5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algn="l"/>
            <a:r>
              <a:rPr lang="en-GB" sz="1200"/>
              <a:t>Sub-heading text here and here and here and here</a:t>
            </a:r>
            <a:endParaRPr lang="en-GB" sz="15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1F9625-3BD0-8CEF-BB6E-C2D380C404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3474" y="1778001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6492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277956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45649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690834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CFE821C-A126-325A-A5F7-2E8FCBEC6A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0000" y="1778001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05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6492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277956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45649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690834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77C89CF-65C0-65A1-9053-1E5547FD1A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6526" y="1778001"/>
            <a:ext cx="3672000" cy="390207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05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1pPr>
            <a:lvl2pPr marL="64925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2pPr>
            <a:lvl3pPr marL="277956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3pPr>
            <a:lvl4pPr marL="456498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4pPr>
            <a:lvl5pPr marL="690834" indent="0" algn="l">
              <a:buNone/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10E32AF-ABB5-810B-6647-AA7A03E11C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5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56747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89E258-1D79-4E25-B592-51F1147856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SLIDE TITLE GOES HERE</a:t>
            </a:r>
            <a:br>
              <a:rPr lang="en-US"/>
            </a:br>
            <a:r>
              <a:rPr lang="en-US"/>
              <a:t>ON TWO LINES IF NECESSARY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7644EA8-7028-42E5-833F-BAD05B8F4B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8328" y="1201381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9" name="object 11">
            <a:extLst>
              <a:ext uri="{FF2B5EF4-FFF2-40B4-BE49-F238E27FC236}">
                <a16:creationId xmlns:a16="http://schemas.microsoft.com/office/drawing/2014/main" id="{235ED689-9638-443C-9A10-E043942A6629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262584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E057FC0-0CF3-598B-7894-CC63D03D9B7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10100" y="1777884"/>
            <a:ext cx="7581900" cy="3902075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1CA1FCD-EF11-F77D-A3FA-03915A1E75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7951" y="2466815"/>
            <a:ext cx="4139578" cy="3213144"/>
          </a:xfrm>
          <a:prstGeom prst="rect">
            <a:avLst/>
          </a:prstGeom>
        </p:spPr>
        <p:txBody>
          <a:bodyPr/>
          <a:lstStyle>
            <a:lvl1pPr marL="5640" marR="271007" indent="-142412" algn="l">
              <a:lnSpc>
                <a:spcPct val="100000"/>
              </a:lnSpc>
              <a:spcBef>
                <a:spcPts val="42"/>
              </a:spcBef>
              <a:buNone/>
              <a:defRPr sz="12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  <a:cs typeface="Tahoma" panose="020B0604030504040204" pitchFamily="34" charset="0"/>
              </a:defRPr>
            </a:lvl1pPr>
            <a:lvl2pPr marL="342864" indent="0" algn="ctr">
              <a:buNone/>
              <a:defRPr sz="1500"/>
            </a:lvl2pPr>
            <a:lvl3pPr marL="685727" indent="0" algn="ctr">
              <a:buNone/>
              <a:defRPr sz="1350"/>
            </a:lvl3pPr>
            <a:lvl4pPr marL="1028591" indent="0" algn="ctr">
              <a:buNone/>
              <a:defRPr sz="1200"/>
            </a:lvl4pPr>
            <a:lvl5pPr marL="1371455" indent="0" algn="ctr">
              <a:buNone/>
              <a:defRPr sz="1200"/>
            </a:lvl5pPr>
            <a:lvl6pPr marL="1714318" indent="0" algn="ctr">
              <a:buNone/>
              <a:defRPr sz="1200"/>
            </a:lvl6pPr>
            <a:lvl7pPr marL="2057182" indent="0" algn="ctr">
              <a:buNone/>
              <a:defRPr sz="1200"/>
            </a:lvl7pPr>
            <a:lvl8pPr marL="2400046" indent="0" algn="ctr">
              <a:buNone/>
              <a:defRPr sz="1200"/>
            </a:lvl8pPr>
            <a:lvl9pPr marL="2742909" indent="0" algn="ctr">
              <a:buNone/>
              <a:defRPr sz="1200"/>
            </a:lvl9pPr>
          </a:lstStyle>
          <a:p>
            <a:r>
              <a:rPr lang="en-GB" sz="1350"/>
              <a:t>Normal text here and here and here and here</a:t>
            </a:r>
            <a:endParaRPr lang="en-GB" sz="180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7ADA2A2-B019-3E85-7EB4-24AC52AC21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793" y="1776017"/>
            <a:ext cx="4139578" cy="690797"/>
          </a:xfrm>
          <a:prstGeom prst="rect">
            <a:avLst/>
          </a:prstGeom>
        </p:spPr>
        <p:txBody>
          <a:bodyPr/>
          <a:lstStyle>
            <a:lvl1pPr>
              <a:defRPr sz="1350" b="0" i="0">
                <a:solidFill>
                  <a:schemeClr val="tx1">
                    <a:lumMod val="65000"/>
                    <a:lumOff val="35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algn="l"/>
            <a:r>
              <a:rPr lang="en-GB" sz="1200"/>
              <a:t>Sub-heading text here and here and here and here</a:t>
            </a:r>
            <a:endParaRPr lang="en-GB" sz="15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E2CF7-1553-356D-C0BE-FEE5FC3377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5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46211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436" y="1061441"/>
            <a:ext cx="10822684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C6647BB-83A6-68CE-A0DA-BA6CBD6AE7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1435" y="2112087"/>
            <a:ext cx="10822684" cy="2361671"/>
          </a:xfrm>
          <a:prstGeom prst="rect">
            <a:avLst/>
          </a:prstGeom>
        </p:spPr>
        <p:txBody>
          <a:bodyPr/>
          <a:lstStyle>
            <a:lvl1pPr marL="5640" marR="271007" indent="-142412" algn="ctr">
              <a:lnSpc>
                <a:spcPct val="165300"/>
              </a:lnSpc>
              <a:spcBef>
                <a:spcPts val="42"/>
              </a:spcBef>
              <a:buNone/>
              <a:defRPr sz="15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Book" panose="02010600040501010103" pitchFamily="2" charset="77"/>
                <a:ea typeface="Apex New Book" panose="02010600040501010103" pitchFamily="2" charset="77"/>
                <a:cs typeface="Tahoma" panose="020B0604030504040204" pitchFamily="34" charset="0"/>
              </a:defRPr>
            </a:lvl1pPr>
            <a:lvl2pPr marL="342864" indent="0" algn="ctr">
              <a:buNone/>
              <a:defRPr sz="1500"/>
            </a:lvl2pPr>
            <a:lvl3pPr marL="685727" indent="0" algn="ctr">
              <a:buNone/>
              <a:defRPr sz="1350"/>
            </a:lvl3pPr>
            <a:lvl4pPr marL="1028591" indent="0" algn="ctr">
              <a:buNone/>
              <a:defRPr sz="1200"/>
            </a:lvl4pPr>
            <a:lvl5pPr marL="1371455" indent="0" algn="ctr">
              <a:buNone/>
              <a:defRPr sz="1200"/>
            </a:lvl5pPr>
            <a:lvl6pPr marL="1714318" indent="0" algn="ctr">
              <a:buNone/>
              <a:defRPr sz="1200"/>
            </a:lvl6pPr>
            <a:lvl7pPr marL="2057182" indent="0" algn="ctr">
              <a:buNone/>
              <a:defRPr sz="1200"/>
            </a:lvl7pPr>
            <a:lvl8pPr marL="2400046" indent="0" algn="ctr">
              <a:buNone/>
              <a:defRPr sz="1200"/>
            </a:lvl8pPr>
            <a:lvl9pPr marL="2742909" indent="0" algn="ctr">
              <a:buNone/>
              <a:defRPr sz="1200"/>
            </a:lvl9pPr>
          </a:lstStyle>
          <a:p>
            <a:r>
              <a:rPr lang="en-US" sz="1800"/>
              <a:t>Lorem ipsum dolor sit </a:t>
            </a:r>
            <a:r>
              <a:rPr lang="en-US" sz="1800" err="1"/>
              <a:t>amet</a:t>
            </a:r>
            <a:r>
              <a:rPr lang="en-US" sz="1800"/>
              <a:t>, </a:t>
            </a:r>
            <a:r>
              <a:rPr lang="en-US" sz="1800" err="1"/>
              <a:t>consectetuer</a:t>
            </a:r>
            <a:r>
              <a:rPr lang="en-US" sz="1800"/>
              <a:t> </a:t>
            </a:r>
            <a:r>
              <a:rPr lang="en-US" sz="1800" err="1"/>
              <a:t>adipiscing</a:t>
            </a:r>
            <a:r>
              <a:rPr lang="en-US" sz="1800"/>
              <a:t> </a:t>
            </a:r>
            <a:r>
              <a:rPr lang="en-US" sz="1800" err="1"/>
              <a:t>elit</a:t>
            </a:r>
            <a:r>
              <a:rPr lang="en-US" sz="1800"/>
              <a:t>, sed diam </a:t>
            </a:r>
            <a:r>
              <a:rPr lang="en-US" sz="1800" err="1"/>
              <a:t>nonummy</a:t>
            </a:r>
            <a:r>
              <a:rPr lang="en-US" sz="1800"/>
              <a:t> </a:t>
            </a:r>
            <a:r>
              <a:rPr lang="en-US" sz="1800" err="1"/>
              <a:t>nibh</a:t>
            </a:r>
            <a:r>
              <a:rPr lang="en-US" sz="1800"/>
              <a:t> </a:t>
            </a:r>
            <a:r>
              <a:rPr lang="en-US" sz="1800" err="1"/>
              <a:t>euismod</a:t>
            </a:r>
            <a:r>
              <a:rPr lang="en-US" sz="1800"/>
              <a:t> </a:t>
            </a:r>
            <a:r>
              <a:rPr lang="en-US" sz="1800" err="1"/>
              <a:t>tincidunt</a:t>
            </a:r>
            <a:r>
              <a:rPr lang="en-US" sz="1800"/>
              <a:t> </a:t>
            </a:r>
            <a:r>
              <a:rPr lang="en-US" sz="1800" err="1"/>
              <a:t>ut</a:t>
            </a:r>
            <a:r>
              <a:rPr lang="en-US" sz="1800"/>
              <a:t> </a:t>
            </a:r>
            <a:r>
              <a:rPr lang="en-US" sz="1800" err="1"/>
              <a:t>laoreet</a:t>
            </a:r>
            <a:r>
              <a:rPr lang="en-US" sz="1800"/>
              <a:t> dolore magna </a:t>
            </a:r>
            <a:r>
              <a:rPr lang="en-US" sz="1800" err="1"/>
              <a:t>aliquam</a:t>
            </a:r>
            <a:r>
              <a:rPr lang="en-US" sz="1800"/>
              <a:t> </a:t>
            </a:r>
            <a:r>
              <a:rPr lang="en-US" sz="1800" err="1"/>
              <a:t>erat</a:t>
            </a:r>
            <a:r>
              <a:rPr lang="en-US" sz="1800"/>
              <a:t> </a:t>
            </a:r>
            <a:r>
              <a:rPr lang="en-US" sz="1800" err="1"/>
              <a:t>volutpat</a:t>
            </a:r>
            <a:r>
              <a:rPr lang="en-US" sz="1800"/>
              <a:t>. Ut </a:t>
            </a:r>
            <a:r>
              <a:rPr lang="en-US" sz="1800" err="1"/>
              <a:t>wisi</a:t>
            </a:r>
            <a:r>
              <a:rPr lang="en-US" sz="1800"/>
              <a:t> </a:t>
            </a:r>
            <a:r>
              <a:rPr lang="en-US" sz="1800" err="1"/>
              <a:t>enim</a:t>
            </a:r>
            <a:r>
              <a:rPr lang="en-US" sz="1800"/>
              <a:t> ad minim </a:t>
            </a:r>
            <a:r>
              <a:rPr lang="en-US" sz="1800" err="1"/>
              <a:t>veniam</a:t>
            </a:r>
            <a:r>
              <a:rPr lang="en-US" sz="1800"/>
              <a:t>, </a:t>
            </a:r>
            <a:r>
              <a:rPr lang="en-US" sz="1800" err="1"/>
              <a:t>quis</a:t>
            </a:r>
            <a:r>
              <a:rPr lang="en-US" sz="1800"/>
              <a:t> </a:t>
            </a:r>
            <a:r>
              <a:rPr lang="en-US" sz="1800" err="1"/>
              <a:t>nostrud</a:t>
            </a:r>
            <a:r>
              <a:rPr lang="en-US" sz="1800"/>
              <a:t> </a:t>
            </a:r>
            <a:r>
              <a:rPr lang="en-US" sz="1800" err="1"/>
              <a:t>exerci</a:t>
            </a:r>
            <a:r>
              <a:rPr lang="en-US" sz="1800"/>
              <a:t> </a:t>
            </a:r>
            <a:r>
              <a:rPr lang="en-US" sz="1800" err="1"/>
              <a:t>tation</a:t>
            </a:r>
            <a:r>
              <a:rPr lang="en-US" sz="1800"/>
              <a:t> </a:t>
            </a:r>
            <a:r>
              <a:rPr lang="en-US" sz="1800" err="1"/>
              <a:t>ullamcorper</a:t>
            </a:r>
            <a:r>
              <a:rPr lang="en-US" sz="1800"/>
              <a:t> </a:t>
            </a:r>
            <a:r>
              <a:rPr lang="en-US" sz="1800" err="1"/>
              <a:t>suscipit</a:t>
            </a:r>
            <a:r>
              <a:rPr lang="en-US" sz="1800"/>
              <a:t> </a:t>
            </a:r>
            <a:r>
              <a:rPr lang="en-US" sz="1800" err="1"/>
              <a:t>lobortis</a:t>
            </a:r>
            <a:r>
              <a:rPr lang="en-US" sz="1800"/>
              <a:t> </a:t>
            </a:r>
            <a:r>
              <a:rPr lang="en-US" sz="1800" err="1"/>
              <a:t>nisl</a:t>
            </a:r>
            <a:r>
              <a:rPr lang="en-US" sz="1800"/>
              <a:t> </a:t>
            </a:r>
            <a:r>
              <a:rPr lang="en-US" sz="1800" err="1"/>
              <a:t>ut</a:t>
            </a:r>
            <a:r>
              <a:rPr lang="en-US" sz="1800"/>
              <a:t> </a:t>
            </a:r>
            <a:r>
              <a:rPr lang="en-US" sz="1800" err="1"/>
              <a:t>aliquip</a:t>
            </a:r>
            <a:r>
              <a:rPr lang="en-US" sz="1800"/>
              <a:t> ex </a:t>
            </a:r>
            <a:r>
              <a:rPr lang="en-US" sz="1800" err="1"/>
              <a:t>ea</a:t>
            </a:r>
            <a:r>
              <a:rPr lang="en-US" sz="1800"/>
              <a:t> </a:t>
            </a:r>
            <a:r>
              <a:rPr lang="en-US" sz="1800" err="1"/>
              <a:t>commodo</a:t>
            </a:r>
            <a:r>
              <a:rPr lang="en-US" sz="1800"/>
              <a:t> </a:t>
            </a:r>
            <a:r>
              <a:rPr lang="en-US" sz="1800" err="1"/>
              <a:t>consequat</a:t>
            </a:r>
            <a:r>
              <a:rPr lang="en-US" sz="1800"/>
              <a:t>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BA122D4-C660-4B51-E621-0749C8299F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96657" y="4689173"/>
            <a:ext cx="1289135" cy="20095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>
            <a:lvl1pPr>
              <a:defRPr sz="675" b="0" i="1">
                <a:solidFill>
                  <a:srgbClr val="66594C"/>
                </a:solidFill>
                <a:latin typeface="Apex New Medium Italic" panose="02010600040501010103" pitchFamily="2" charset="77"/>
                <a:ea typeface="Apex New Medium Italic" panose="02010600040501010103" pitchFamily="2" charset="77"/>
              </a:defRPr>
            </a:lvl1pPr>
          </a:lstStyle>
          <a:p>
            <a:pPr lvl="0"/>
            <a:r>
              <a:rPr lang="en-GB"/>
              <a:t>Click to edit master text styles.  </a:t>
            </a:r>
          </a:p>
        </p:txBody>
      </p:sp>
    </p:spTree>
    <p:extLst>
      <p:ext uri="{BB962C8B-B14F-4D97-AF65-F5344CB8AC3E}">
        <p14:creationId xmlns:p14="http://schemas.microsoft.com/office/powerpoint/2010/main" val="190322651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4E62448-174A-A466-FFFC-726AD16245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475" y="296088"/>
            <a:ext cx="10079725" cy="3693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00"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820E3CC-DF6C-09AC-D76A-4F15CB3254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475" y="831283"/>
            <a:ext cx="5889054" cy="410136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algn="l"/>
            <a:r>
              <a:rPr lang="en-GB" sz="1200"/>
              <a:t>Sub-heading text here and here and here and here</a:t>
            </a:r>
            <a:endParaRPr lang="en-GB" sz="1500"/>
          </a:p>
        </p:txBody>
      </p:sp>
    </p:spTree>
    <p:extLst>
      <p:ext uri="{BB962C8B-B14F-4D97-AF65-F5344CB8AC3E}">
        <p14:creationId xmlns:p14="http://schemas.microsoft.com/office/powerpoint/2010/main" val="197040149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177699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037CE3-375D-2BB2-1C58-73F4A24152BA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9356F0B1-A2E8-1558-F23B-6FD74C52E4B8}"/>
              </a:ext>
            </a:extLst>
          </p:cNvPr>
          <p:cNvSpPr/>
          <p:nvPr userDrawn="1"/>
        </p:nvSpPr>
        <p:spPr>
          <a:xfrm>
            <a:off x="11521843" y="6474758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325288-7D19-894A-52D8-9A820BF0B847}"/>
              </a:ext>
            </a:extLst>
          </p:cNvPr>
          <p:cNvSpPr/>
          <p:nvPr userDrawn="1"/>
        </p:nvSpPr>
        <p:spPr>
          <a:xfrm>
            <a:off x="11588594" y="6534856"/>
            <a:ext cx="520704" cy="214315"/>
          </a:xfrm>
          <a:prstGeom prst="rect">
            <a:avLst/>
          </a:prstGeom>
        </p:spPr>
        <p:txBody>
          <a:bodyPr vert="horz" lIns="0" tIns="0" rIns="0" bIns="34507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675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575" b="1">
              <a:solidFill>
                <a:schemeClr val="bg1"/>
              </a:solidFill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4372140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037CE3-375D-2BB2-1C58-73F4A24152BA}"/>
              </a:ext>
            </a:extLst>
          </p:cNvPr>
          <p:cNvSpPr/>
          <p:nvPr userDrawn="1"/>
        </p:nvSpPr>
        <p:spPr>
          <a:xfrm>
            <a:off x="0" y="1"/>
            <a:ext cx="12192000" cy="603754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47563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8F99CAC-C0C8-2644-91FF-26FA30833B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2602" y="1720557"/>
            <a:ext cx="5534399" cy="4256497"/>
          </a:xfrm>
          <a:prstGeom prst="rect">
            <a:avLst/>
          </a:prstGeom>
        </p:spPr>
        <p:txBody>
          <a:bodyPr/>
          <a:lstStyle>
            <a:lvl1pPr marL="7521" marR="3008" indent="0" algn="l">
              <a:lnSpc>
                <a:spcPct val="144400"/>
              </a:lnSpc>
              <a:spcBef>
                <a:spcPts val="56"/>
              </a:spcBef>
              <a:buFont typeface="Arial" panose="020B0604020202020204" pitchFamily="34" charset="0"/>
              <a:buNone/>
              <a:defRPr sz="172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541508" indent="-270754" algn="l">
              <a:spcBef>
                <a:spcPts val="0"/>
              </a:spcBef>
              <a:buFont typeface="Arial" panose="020B0604020202020204" pitchFamily="34" charset="0"/>
              <a:buChar char="•"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7521" marR="3008">
              <a:lnSpc>
                <a:spcPct val="144400"/>
              </a:lnSpc>
              <a:spcBef>
                <a:spcPts val="56"/>
              </a:spcBef>
            </a:pP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rem ipsum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lor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it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me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ectetuer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ipiscing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i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d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am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6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nummy</a:t>
            </a:r>
            <a:r>
              <a:rPr lang="en-GB" sz="1717" spc="6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ibh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uismod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ncidun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oree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dolore </a:t>
            </a:r>
            <a:r>
              <a:rPr lang="en-GB" sz="1717" spc="6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gna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iquam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-6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rat</a:t>
            </a:r>
            <a:r>
              <a:rPr lang="en-GB" sz="1717" spc="-6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lutpat</a:t>
            </a:r>
            <a:r>
              <a:rPr lang="en-GB" sz="1717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si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im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d  minim </a:t>
            </a:r>
            <a:r>
              <a:rPr lang="en-GB" sz="1717" spc="-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eniam</a:t>
            </a:r>
            <a:r>
              <a:rPr lang="en-GB" sz="1717" spc="-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uis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strud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-12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erci</a:t>
            </a:r>
            <a:r>
              <a:rPr lang="en-GB" sz="1717" spc="-12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tion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llamcorper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scipi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bortis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isl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iquip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-15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a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6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odo</a:t>
            </a:r>
            <a:r>
              <a:rPr lang="en-GB" sz="1717" spc="6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GB" sz="1717" spc="3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equat</a:t>
            </a:r>
            <a:r>
              <a:rPr lang="en-GB" sz="1717" spc="3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GB" sz="1717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4A892B8-0B4A-6249-9EFA-E629D609104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03292" y="1720850"/>
            <a:ext cx="5357066" cy="4256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Insert picture her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89E258-1D79-4E25-B592-51F1147856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SLIDE TITLE GOES HERE</a:t>
            </a:r>
            <a:br>
              <a:rPr lang="en-US"/>
            </a:br>
            <a:r>
              <a:rPr lang="en-US"/>
              <a:t>ON TWO LINES IF NECESSARY</a:t>
            </a:r>
          </a:p>
        </p:txBody>
      </p:sp>
    </p:spTree>
    <p:extLst>
      <p:ext uri="{BB962C8B-B14F-4D97-AF65-F5344CB8AC3E}">
        <p14:creationId xmlns:p14="http://schemas.microsoft.com/office/powerpoint/2010/main" val="19297756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9602014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CONTENTS SLIDE</a:t>
            </a:r>
            <a:endParaRPr lang="en-ZA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EDA1C25F-7D43-4095-A0B8-45700D5B151C}"/>
              </a:ext>
            </a:extLst>
          </p:cNvPr>
          <p:cNvSpPr/>
          <p:nvPr userDrawn="1"/>
        </p:nvSpPr>
        <p:spPr>
          <a:xfrm>
            <a:off x="8499929" y="4854262"/>
            <a:ext cx="3250324" cy="16944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332918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40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800"/>
              <a:t>Normal text here and here and here and here</a:t>
            </a:r>
            <a:endParaRPr lang="en-GB" sz="2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2875A8-5858-41C5-9133-0B72927E38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46762" y="16185"/>
            <a:ext cx="1148040" cy="1151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426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956505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CONTENTS SLIDE</a:t>
            </a:r>
            <a:endParaRPr lang="en-ZA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7" y="2085874"/>
            <a:ext cx="2995808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/>
              <a:t>Normal text here and here and here and here</a:t>
            </a:r>
            <a:endParaRPr lang="en-GB" sz="2000"/>
          </a:p>
          <a:p>
            <a:pPr marL="197049" marR="3008">
              <a:lnSpc>
                <a:spcPct val="100600"/>
              </a:lnSpc>
            </a:pPr>
            <a:endParaRPr lang="en-GB" sz="1600"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B7093058-1C72-42EE-AFD4-C6A337F2FC13}"/>
              </a:ext>
            </a:extLst>
          </p:cNvPr>
          <p:cNvSpPr/>
          <p:nvPr userDrawn="1"/>
        </p:nvSpPr>
        <p:spPr>
          <a:xfrm>
            <a:off x="8580474" y="3407791"/>
            <a:ext cx="3205788" cy="3090186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DAEEFD-DCFE-4D14-85F4-4BB3537514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46762" y="16185"/>
            <a:ext cx="1148040" cy="1151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630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0417611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CONTENTS SLIDE</a:t>
            </a:r>
            <a:endParaRPr lang="en-ZA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296723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/>
              <a:t>Normal text here and here and here and here</a:t>
            </a:r>
            <a:endParaRPr lang="en-GB" sz="2000"/>
          </a:p>
          <a:p>
            <a:pPr marL="197049" marR="3008" indent="-189904">
              <a:lnSpc>
                <a:spcPct val="100600"/>
              </a:lnSpc>
              <a:spcBef>
                <a:spcPts val="56"/>
              </a:spcBef>
            </a:pPr>
            <a:endParaRPr lang="en-GB" sz="1600" b="1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558145CC-D3BC-4C88-AA7C-565A0C5BCABE}"/>
              </a:ext>
            </a:extLst>
          </p:cNvPr>
          <p:cNvSpPr/>
          <p:nvPr userDrawn="1"/>
        </p:nvSpPr>
        <p:spPr>
          <a:xfrm>
            <a:off x="8189297" y="4958505"/>
            <a:ext cx="3821367" cy="15191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852083-73B7-4C88-A80A-3A49B3A5C48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46762" y="16185"/>
            <a:ext cx="1148040" cy="1151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880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train tracks with cars and a sunset&#10;&#10;Description automatically generated with medium confidence">
            <a:extLst>
              <a:ext uri="{FF2B5EF4-FFF2-40B4-BE49-F238E27FC236}">
                <a16:creationId xmlns:a16="http://schemas.microsoft.com/office/drawing/2014/main" id="{3147F54D-D543-4196-B594-B003C2E8DA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67"/>
          <a:stretch/>
        </p:blipFill>
        <p:spPr>
          <a:xfrm>
            <a:off x="-1" y="-1"/>
            <a:ext cx="12192000" cy="685800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DCE2317-9465-B44C-889D-A5E7352B42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519"/>
          </a:xfrm>
          <a:prstGeom prst="rect">
            <a:avLst/>
          </a:prstGeom>
        </p:spPr>
      </p:pic>
      <p:sp>
        <p:nvSpPr>
          <p:cNvPr id="31" name="object 4">
            <a:extLst>
              <a:ext uri="{FF2B5EF4-FFF2-40B4-BE49-F238E27FC236}">
                <a16:creationId xmlns:a16="http://schemas.microsoft.com/office/drawing/2014/main" id="{61CF7A6D-5685-6042-A629-3C5635BBC234}"/>
              </a:ext>
            </a:extLst>
          </p:cNvPr>
          <p:cNvSpPr/>
          <p:nvPr userDrawn="1"/>
        </p:nvSpPr>
        <p:spPr>
          <a:xfrm>
            <a:off x="635835" y="2664176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34" name="Picture 33" descr="A logo with red and green triangles&#10;&#10;Description automatically generated">
            <a:extLst>
              <a:ext uri="{FF2B5EF4-FFF2-40B4-BE49-F238E27FC236}">
                <a16:creationId xmlns:a16="http://schemas.microsoft.com/office/drawing/2014/main" id="{6444630C-4069-4300-B12E-119C448A38D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097" y="292171"/>
            <a:ext cx="1306287" cy="1149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4561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44081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ADD TITLE</a:t>
            </a:r>
            <a:br>
              <a:rPr lang="en-US"/>
            </a:br>
            <a:r>
              <a:rPr lang="en-US"/>
              <a:t>ON TWO LINES IF NECESSARY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535250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CUSTOM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50792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89E258-1D79-4E25-B592-51F1147856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SLIDE TITLE GOES HERE</a:t>
            </a:r>
            <a:br>
              <a:rPr lang="en-US"/>
            </a:br>
            <a:r>
              <a:rPr lang="en-US"/>
              <a:t>ON TWO LINES IF NECESSARY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7644EA8-7028-42E5-833F-BAD05B8F4B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8328" y="1201381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>
            <a:lvl1pPr marL="357188" indent="-357188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719138" indent="-361950">
              <a:buFont typeface="Courier New" panose="02070309020205020404" pitchFamily="49" charset="0"/>
              <a:buChar char="o"/>
              <a:defRPr/>
            </a:lvl2pPr>
            <a:lvl3pPr marL="1074738" indent="-355600">
              <a:defRPr/>
            </a:lvl3pPr>
            <a:lvl4pPr marL="1436688" indent="-361950">
              <a:defRPr/>
            </a:lvl4pPr>
            <a:lvl5pPr marL="1793875" indent="-357188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9" name="object 11">
            <a:extLst>
              <a:ext uri="{FF2B5EF4-FFF2-40B4-BE49-F238E27FC236}">
                <a16:creationId xmlns:a16="http://schemas.microsoft.com/office/drawing/2014/main" id="{235ED689-9638-443C-9A10-E043942A6629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7037573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train tracks with cars and a sunset&#10;&#10;Description automatically generated with medium confidence">
            <a:extLst>
              <a:ext uri="{FF2B5EF4-FFF2-40B4-BE49-F238E27FC236}">
                <a16:creationId xmlns:a16="http://schemas.microsoft.com/office/drawing/2014/main" id="{3147F54D-D543-4196-B594-B003C2E8DA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67"/>
          <a:stretch/>
        </p:blipFill>
        <p:spPr>
          <a:xfrm>
            <a:off x="-1" y="-1"/>
            <a:ext cx="12192000" cy="685800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DCE2317-9465-B44C-889D-A5E7352B42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519"/>
          </a:xfrm>
          <a:prstGeom prst="rect">
            <a:avLst/>
          </a:prstGeom>
        </p:spPr>
      </p:pic>
      <p:pic>
        <p:nvPicPr>
          <p:cNvPr id="34" name="Picture 33" descr="A logo with red and green triangles&#10;&#10;Description automatically generated">
            <a:extLst>
              <a:ext uri="{FF2B5EF4-FFF2-40B4-BE49-F238E27FC236}">
                <a16:creationId xmlns:a16="http://schemas.microsoft.com/office/drawing/2014/main" id="{6444630C-4069-4300-B12E-119C448A38D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097" y="292171"/>
            <a:ext cx="1306287" cy="1149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01760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train tracks with cars and a sunset&#10;&#10;Description automatically generated with medium confidence">
            <a:extLst>
              <a:ext uri="{FF2B5EF4-FFF2-40B4-BE49-F238E27FC236}">
                <a16:creationId xmlns:a16="http://schemas.microsoft.com/office/drawing/2014/main" id="{3147F54D-D543-4196-B594-B003C2E8DA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67"/>
          <a:stretch/>
        </p:blipFill>
        <p:spPr>
          <a:xfrm>
            <a:off x="-1" y="-1"/>
            <a:ext cx="12192000" cy="685800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DCE2317-9465-B44C-889D-A5E7352B42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519"/>
          </a:xfrm>
          <a:prstGeom prst="rect">
            <a:avLst/>
          </a:prstGeom>
        </p:spPr>
      </p:pic>
      <p:pic>
        <p:nvPicPr>
          <p:cNvPr id="5" name="Picture 4" descr="A white logo on a black background&#10;&#10;Description automatically generated">
            <a:extLst>
              <a:ext uri="{FF2B5EF4-FFF2-40B4-BE49-F238E27FC236}">
                <a16:creationId xmlns:a16="http://schemas.microsoft.com/office/drawing/2014/main" id="{6679713A-9A55-4697-8AB7-8492D29DE98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097" y="292171"/>
            <a:ext cx="1306287" cy="1149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95238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15">
            <a:extLst>
              <a:ext uri="{FF2B5EF4-FFF2-40B4-BE49-F238E27FC236}">
                <a16:creationId xmlns:a16="http://schemas.microsoft.com/office/drawing/2014/main" id="{8ABCC69D-851C-32AF-7D03-CAE41ECB7C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-182880"/>
            <a:ext cx="12192000" cy="7040880"/>
          </a:xfrm>
          <a:prstGeom prst="rect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847895" y="339079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6794" y="1207808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5" name="Picture 4" descr="A white logo on a black background&#10;&#10;Description automatically generated">
            <a:extLst>
              <a:ext uri="{FF2B5EF4-FFF2-40B4-BE49-F238E27FC236}">
                <a16:creationId xmlns:a16="http://schemas.microsoft.com/office/drawing/2014/main" id="{13F64139-80ED-4CA4-92BF-CCDE96992F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5966" y="134910"/>
            <a:ext cx="1580608" cy="1390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5490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8A752-8046-475E-9DC6-2FD185E06D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4813" y="134911"/>
            <a:ext cx="10058400" cy="622286"/>
          </a:xfrm>
          <a:prstGeom prst="rect">
            <a:avLst/>
          </a:prstGeom>
        </p:spPr>
        <p:txBody>
          <a:bodyPr anchor="ctr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14841617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F561182C-506E-CC86-70F9-5C42575D7D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246" y="150689"/>
            <a:ext cx="10227520" cy="5759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45074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15">
            <a:extLst>
              <a:ext uri="{FF2B5EF4-FFF2-40B4-BE49-F238E27FC236}">
                <a16:creationId xmlns:a16="http://schemas.microsoft.com/office/drawing/2014/main" id="{8ABCC69D-851C-32AF-7D03-CAE41ECB7C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-182880"/>
            <a:ext cx="12192000" cy="7040880"/>
          </a:xfrm>
          <a:prstGeom prst="rect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847895" y="3390791"/>
            <a:ext cx="2810385" cy="788724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 algn="r">
              <a:defRPr sz="180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6794" y="1207808"/>
            <a:ext cx="5741486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5" name="Picture 4" descr="A white logo on a black background&#10;&#10;Description automatically generated">
            <a:extLst>
              <a:ext uri="{FF2B5EF4-FFF2-40B4-BE49-F238E27FC236}">
                <a16:creationId xmlns:a16="http://schemas.microsoft.com/office/drawing/2014/main" id="{13F64139-80ED-4CA4-92BF-CCDE96992F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5966" y="134910"/>
            <a:ext cx="1580608" cy="1390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4249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03052B-FD7C-5F6E-F4C3-E7934862B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pattFill prst="diagBri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CEC7D17-3DDF-1C86-8BA2-50CC5F3D1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7456" y="1783670"/>
            <a:ext cx="3455690" cy="415498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E26A3B28-9CA4-9BFA-FEE1-E65C5A9124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47456" y="2728306"/>
            <a:ext cx="2082750" cy="637208"/>
          </a:xfrm>
          <a:prstGeom prst="rect">
            <a:avLst/>
          </a:prstGeom>
        </p:spPr>
        <p:txBody>
          <a:bodyPr wrap="none" tIns="144000">
            <a:spAutoFit/>
          </a:bodyPr>
          <a:lstStyle>
            <a:lvl1pPr>
              <a:defRPr sz="1350" b="0" i="0">
                <a:solidFill>
                  <a:schemeClr val="tx1">
                    <a:lumMod val="50000"/>
                    <a:lumOff val="50000"/>
                  </a:schemeClr>
                </a:solidFill>
                <a:latin typeface="Apex New Medium" panose="02010600040501010103" pitchFamily="2" charset="77"/>
                <a:ea typeface="Apex New Medium" panose="02010600040501010103" pitchFamily="2" charset="77"/>
              </a:defRPr>
            </a:lvl1pPr>
          </a:lstStyle>
          <a:p>
            <a:pPr algn="l"/>
            <a:r>
              <a:rPr lang="en-GB" sz="1350"/>
              <a:t>Sub-heading text here and </a:t>
            </a:r>
            <a:br>
              <a:rPr lang="en-GB" sz="1350"/>
            </a:br>
            <a:r>
              <a:rPr lang="en-GB" sz="1350"/>
              <a:t>here and here and here</a:t>
            </a:r>
            <a:endParaRPr lang="en-GB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B3F589F-2371-83D8-F684-3450621F48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9" y="260005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13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34" Type="http://schemas.openxmlformats.org/officeDocument/2006/relationships/image" Target="../media/image13.emf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oleObject" Target="../embeddings/oleObject3.bin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tags" Target="../tags/tag7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34" Type="http://schemas.openxmlformats.org/officeDocument/2006/relationships/image" Target="../media/image13.emf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oleObject" Target="../embeddings/oleObject3.bin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tags" Target="../tags/tag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theme" Target="../theme/theme3.xml"/><Relationship Id="rId8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68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4510182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1" imgH="420" progId="TCLayout.ActiveDocument.1">
                  <p:embed/>
                </p:oleObj>
              </mc:Choice>
              <mc:Fallback>
                <p:oleObj name="think-cell Slide" r:id="rId11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8755" y="276058"/>
            <a:ext cx="10457775" cy="7201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SLID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8329" y="1200483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Rectangle 6"/>
          <p:cNvSpPr/>
          <p:nvPr userDrawn="1"/>
        </p:nvSpPr>
        <p:spPr>
          <a:xfrm>
            <a:off x="443786" y="62927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>
              <a:solidFill>
                <a:schemeClr val="tx1">
                  <a:lumMod val="50000"/>
                  <a:lumOff val="50000"/>
                </a:schemeClr>
              </a:solidFill>
              <a:latin typeface="Tahoma"/>
            </a:endParaRPr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C94C95BE-8722-4D8D-93E0-75343B78F809}"/>
              </a:ext>
            </a:extLst>
          </p:cNvPr>
          <p:cNvSpPr/>
          <p:nvPr userDrawn="1"/>
        </p:nvSpPr>
        <p:spPr>
          <a:xfrm>
            <a:off x="568328" y="1121575"/>
            <a:ext cx="11055343" cy="45719"/>
          </a:xfrm>
          <a:custGeom>
            <a:avLst/>
            <a:gdLst/>
            <a:ahLst/>
            <a:cxnLst/>
            <a:rect l="l" t="t" r="r" b="b"/>
            <a:pathLst>
              <a:path w="18230215">
                <a:moveTo>
                  <a:pt x="0" y="0"/>
                </a:moveTo>
                <a:lnTo>
                  <a:pt x="18229780" y="0"/>
                </a:lnTo>
              </a:path>
            </a:pathLst>
          </a:custGeom>
          <a:ln w="20941">
            <a:solidFill>
              <a:srgbClr val="8B8E91"/>
            </a:solidFill>
          </a:ln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8828F517-37FB-4E03-B217-C275D9590891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0567A0-C0A7-4B1B-AE7B-212F10FDF1C1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46762" y="16185"/>
            <a:ext cx="1148040" cy="1151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53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4" r:id="rId7"/>
    <p:sldLayoutId id="2147483804" r:id="rId8"/>
  </p:sldLayoutIdLst>
  <p:hf hdr="0" ftr="0" dt="0"/>
  <p:txStyles>
    <p:titleStyle>
      <a:lvl1pPr algn="l" defTabSz="779173" rtl="0" eaLnBrk="1" latinLnBrk="0" hangingPunct="1">
        <a:spcBef>
          <a:spcPct val="0"/>
        </a:spcBef>
        <a:buNone/>
        <a:defRPr sz="2800" b="1" kern="1200" cap="none" spc="0" baseline="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779173" rtl="0" eaLnBrk="1" latinLnBrk="0" hangingPunct="1">
        <a:lnSpc>
          <a:spcPct val="110000"/>
        </a:lnSpc>
        <a:spcBef>
          <a:spcPts val="1023"/>
        </a:spcBef>
        <a:spcAft>
          <a:spcPts val="341"/>
        </a:spcAft>
        <a:buFont typeface="Arial" pitchFamily="34" charset="0"/>
        <a:buNone/>
        <a:defRPr sz="20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228612" indent="-142037" algn="l" defTabSz="779173" rtl="0" eaLnBrk="1" latinLnBrk="0" hangingPunct="1">
        <a:lnSpc>
          <a:spcPct val="110000"/>
        </a:lnSpc>
        <a:spcBef>
          <a:spcPts val="171"/>
        </a:spcBef>
        <a:spcAft>
          <a:spcPts val="171"/>
        </a:spcAft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531623" indent="-160976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›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764293" indent="-155565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1078126" indent="-156917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142725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2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98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84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>
          <p15:clr>
            <a:srgbClr val="F26B43"/>
          </p15:clr>
        </p15:guide>
        <p15:guide id="4" orient="horz" pos="4156">
          <p15:clr>
            <a:srgbClr val="F26B43"/>
          </p15:clr>
        </p15:guide>
        <p15:guide id="5" orient="horz" pos="2432">
          <p15:clr>
            <a:srgbClr val="F26B43"/>
          </p15:clr>
        </p15:guide>
        <p15:guide id="7" orient="horz" pos="70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507066645"/>
              </p:ext>
            </p:extLst>
          </p:nvPr>
        </p:nvGraphicFramePr>
        <p:xfrm>
          <a:off x="2120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21" imgH="420" progId="TCLayout.ActiveDocument.1">
                  <p:embed/>
                </p:oleObj>
              </mc:Choice>
              <mc:Fallback>
                <p:oleObj name="think-cell Slide" r:id="rId32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20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4">
            <a:extLst>
              <a:ext uri="{FF2B5EF4-FFF2-40B4-BE49-F238E27FC236}">
                <a16:creationId xmlns:a16="http://schemas.microsoft.com/office/drawing/2014/main" id="{A3145E3B-53D8-24D2-49B8-FC9BEF07CE71}"/>
              </a:ext>
            </a:extLst>
          </p:cNvPr>
          <p:cNvSpPr/>
          <p:nvPr userDrawn="1"/>
        </p:nvSpPr>
        <p:spPr>
          <a:xfrm>
            <a:off x="11521843" y="6474758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E2766E-0E28-428C-7713-F6A0FCA419FF}"/>
              </a:ext>
            </a:extLst>
          </p:cNvPr>
          <p:cNvSpPr/>
          <p:nvPr userDrawn="1"/>
        </p:nvSpPr>
        <p:spPr>
          <a:xfrm>
            <a:off x="11588594" y="6534856"/>
            <a:ext cx="520704" cy="214315"/>
          </a:xfrm>
          <a:prstGeom prst="rect">
            <a:avLst/>
          </a:prstGeom>
        </p:spPr>
        <p:txBody>
          <a:bodyPr vert="horz" lIns="0" tIns="0" rIns="0" bIns="34507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675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575" b="1">
              <a:solidFill>
                <a:schemeClr val="bg1"/>
              </a:solidFill>
              <a:latin typeface="Tahoma"/>
            </a:endParaRPr>
          </a:p>
        </p:txBody>
      </p:sp>
      <p:sp>
        <p:nvSpPr>
          <p:cNvPr id="7" name="Graphic 64">
            <a:extLst>
              <a:ext uri="{FF2B5EF4-FFF2-40B4-BE49-F238E27FC236}">
                <a16:creationId xmlns:a16="http://schemas.microsoft.com/office/drawing/2014/main" id="{238245C2-535F-687F-738F-83FEEB859035}"/>
              </a:ext>
            </a:extLst>
          </p:cNvPr>
          <p:cNvSpPr/>
          <p:nvPr userDrawn="1"/>
        </p:nvSpPr>
        <p:spPr>
          <a:xfrm>
            <a:off x="209512" y="825399"/>
            <a:ext cx="10134961" cy="647434"/>
          </a:xfrm>
          <a:custGeom>
            <a:avLst/>
            <a:gdLst>
              <a:gd name="connsiteX0" fmla="*/ 7482459 w 7482459"/>
              <a:gd name="connsiteY0" fmla="*/ 0 h 963549"/>
              <a:gd name="connsiteX1" fmla="*/ 439579 w 7482459"/>
              <a:gd name="connsiteY1" fmla="*/ 0 h 963549"/>
              <a:gd name="connsiteX2" fmla="*/ 399955 w 7482459"/>
              <a:gd name="connsiteY2" fmla="*/ 72009 h 963549"/>
              <a:gd name="connsiteX3" fmla="*/ 351377 w 7482459"/>
              <a:gd name="connsiteY3" fmla="*/ 72390 h 963549"/>
              <a:gd name="connsiteX4" fmla="*/ 307467 w 7482459"/>
              <a:gd name="connsiteY4" fmla="*/ 0 h 963549"/>
              <a:gd name="connsiteX5" fmla="*/ 118967 w 7482459"/>
              <a:gd name="connsiteY5" fmla="*/ 0 h 963549"/>
              <a:gd name="connsiteX6" fmla="*/ 0 w 7482459"/>
              <a:gd name="connsiteY6" fmla="*/ 199739 h 963549"/>
              <a:gd name="connsiteX7" fmla="*/ 0 w 7482459"/>
              <a:gd name="connsiteY7" fmla="*/ 342138 h 963549"/>
              <a:gd name="connsiteX8" fmla="*/ 78296 w 7482459"/>
              <a:gd name="connsiteY8" fmla="*/ 463772 h 963549"/>
              <a:gd name="connsiteX9" fmla="*/ 204216 w 7482459"/>
              <a:gd name="connsiteY9" fmla="*/ 463772 h 963549"/>
              <a:gd name="connsiteX10" fmla="*/ 219647 w 7482459"/>
              <a:gd name="connsiteY10" fmla="*/ 437007 h 963549"/>
              <a:gd name="connsiteX11" fmla="*/ 381000 w 7482459"/>
              <a:gd name="connsiteY11" fmla="*/ 437007 h 963549"/>
              <a:gd name="connsiteX12" fmla="*/ 399288 w 7482459"/>
              <a:gd name="connsiteY12" fmla="*/ 469773 h 963549"/>
              <a:gd name="connsiteX13" fmla="*/ 399288 w 7482459"/>
              <a:gd name="connsiteY13" fmla="*/ 568071 h 963549"/>
              <a:gd name="connsiteX14" fmla="*/ 434245 w 7482459"/>
              <a:gd name="connsiteY14" fmla="*/ 628841 h 963549"/>
              <a:gd name="connsiteX15" fmla="*/ 434054 w 7482459"/>
              <a:gd name="connsiteY15" fmla="*/ 693325 h 963549"/>
              <a:gd name="connsiteX16" fmla="*/ 492728 w 7482459"/>
              <a:gd name="connsiteY16" fmla="*/ 800005 h 963549"/>
              <a:gd name="connsiteX17" fmla="*/ 492728 w 7482459"/>
              <a:gd name="connsiteY17" fmla="*/ 884873 h 963549"/>
              <a:gd name="connsiteX18" fmla="*/ 559118 w 7482459"/>
              <a:gd name="connsiteY18" fmla="*/ 962978 h 963549"/>
              <a:gd name="connsiteX19" fmla="*/ 645414 w 7482459"/>
              <a:gd name="connsiteY19" fmla="*/ 963549 h 963549"/>
              <a:gd name="connsiteX20" fmla="*/ 688372 w 7482459"/>
              <a:gd name="connsiteY20" fmla="*/ 892112 h 963549"/>
              <a:gd name="connsiteX21" fmla="*/ 688372 w 7482459"/>
              <a:gd name="connsiteY21" fmla="*/ 837914 h 963549"/>
              <a:gd name="connsiteX22" fmla="*/ 784479 w 7482459"/>
              <a:gd name="connsiteY22" fmla="*/ 687229 h 963549"/>
              <a:gd name="connsiteX23" fmla="*/ 784479 w 7482459"/>
              <a:gd name="connsiteY23" fmla="*/ 586169 h 963549"/>
              <a:gd name="connsiteX24" fmla="*/ 831152 w 7482459"/>
              <a:gd name="connsiteY24" fmla="*/ 512636 h 963549"/>
              <a:gd name="connsiteX25" fmla="*/ 886968 w 7482459"/>
              <a:gd name="connsiteY25" fmla="*/ 513207 h 963549"/>
              <a:gd name="connsiteX26" fmla="*/ 979075 w 7482459"/>
              <a:gd name="connsiteY26" fmla="*/ 352139 h 963549"/>
              <a:gd name="connsiteX27" fmla="*/ 809530 w 7482459"/>
              <a:gd name="connsiteY27" fmla="*/ 352139 h 963549"/>
              <a:gd name="connsiteX28" fmla="*/ 761333 w 7482459"/>
              <a:gd name="connsiteY28" fmla="*/ 269367 h 963549"/>
              <a:gd name="connsiteX29" fmla="*/ 761429 w 7482459"/>
              <a:gd name="connsiteY29" fmla="*/ 189357 h 963549"/>
              <a:gd name="connsiteX30" fmla="*/ 681419 w 7482459"/>
              <a:gd name="connsiteY30" fmla="*/ 77438 h 963549"/>
              <a:gd name="connsiteX31" fmla="*/ 655511 w 7482459"/>
              <a:gd name="connsiteY31" fmla="*/ 77438 h 963549"/>
              <a:gd name="connsiteX32" fmla="*/ 487299 w 7482459"/>
              <a:gd name="connsiteY32" fmla="*/ 77438 h 963549"/>
              <a:gd name="connsiteX33" fmla="*/ 443293 w 7482459"/>
              <a:gd name="connsiteY33" fmla="*/ 153448 h 963549"/>
              <a:gd name="connsiteX34" fmla="*/ 316421 w 7482459"/>
              <a:gd name="connsiteY34" fmla="*/ 153448 h 963549"/>
              <a:gd name="connsiteX35" fmla="*/ 265843 w 7482459"/>
              <a:gd name="connsiteY35" fmla="*/ 67056 h 963549"/>
              <a:gd name="connsiteX36" fmla="*/ 159639 w 7482459"/>
              <a:gd name="connsiteY36" fmla="*/ 67056 h 963549"/>
              <a:gd name="connsiteX37" fmla="*/ 71914 w 7482459"/>
              <a:gd name="connsiteY37" fmla="*/ 225457 h 963549"/>
              <a:gd name="connsiteX38" fmla="*/ 71914 w 7482459"/>
              <a:gd name="connsiteY38" fmla="*/ 311753 h 963549"/>
              <a:gd name="connsiteX39" fmla="*/ 121825 w 7482459"/>
              <a:gd name="connsiteY39" fmla="*/ 393192 h 963549"/>
              <a:gd name="connsiteX40" fmla="*/ 160687 w 7482459"/>
              <a:gd name="connsiteY40" fmla="*/ 393192 h 963549"/>
              <a:gd name="connsiteX41" fmla="*/ 173260 w 7482459"/>
              <a:gd name="connsiteY41" fmla="*/ 370332 h 963549"/>
              <a:gd name="connsiteX42" fmla="*/ 416433 w 7482459"/>
              <a:gd name="connsiteY42" fmla="*/ 370332 h 963549"/>
              <a:gd name="connsiteX43" fmla="*/ 465392 w 7482459"/>
              <a:gd name="connsiteY43" fmla="*/ 455676 h 963549"/>
              <a:gd name="connsiteX44" fmla="*/ 465392 w 7482459"/>
              <a:gd name="connsiteY44" fmla="*/ 556736 h 963549"/>
              <a:gd name="connsiteX45" fmla="*/ 500443 w 7482459"/>
              <a:gd name="connsiteY45" fmla="*/ 616839 h 963549"/>
              <a:gd name="connsiteX46" fmla="*/ 500443 w 7482459"/>
              <a:gd name="connsiteY46" fmla="*/ 678275 h 963549"/>
              <a:gd name="connsiteX47" fmla="*/ 563309 w 7482459"/>
              <a:gd name="connsiteY47" fmla="*/ 783527 h 963549"/>
              <a:gd name="connsiteX48" fmla="*/ 563309 w 7482459"/>
              <a:gd name="connsiteY48" fmla="*/ 847344 h 963549"/>
              <a:gd name="connsiteX49" fmla="*/ 594932 w 7482459"/>
              <a:gd name="connsiteY49" fmla="*/ 888492 h 963549"/>
              <a:gd name="connsiteX50" fmla="*/ 609124 w 7482459"/>
              <a:gd name="connsiteY50" fmla="*/ 888492 h 963549"/>
              <a:gd name="connsiteX51" fmla="*/ 628460 w 7482459"/>
              <a:gd name="connsiteY51" fmla="*/ 856488 h 963549"/>
              <a:gd name="connsiteX52" fmla="*/ 628460 w 7482459"/>
              <a:gd name="connsiteY52" fmla="*/ 810292 h 963549"/>
              <a:gd name="connsiteX53" fmla="*/ 717899 w 7482459"/>
              <a:gd name="connsiteY53" fmla="*/ 667226 h 963549"/>
              <a:gd name="connsiteX54" fmla="*/ 718566 w 7482459"/>
              <a:gd name="connsiteY54" fmla="*/ 556165 h 963549"/>
              <a:gd name="connsiteX55" fmla="*/ 790956 w 7482459"/>
              <a:gd name="connsiteY55" fmla="*/ 448056 h 963549"/>
              <a:gd name="connsiteX56" fmla="*/ 843725 w 7482459"/>
              <a:gd name="connsiteY56" fmla="*/ 447770 h 963549"/>
              <a:gd name="connsiteX57" fmla="*/ 861060 w 7482459"/>
              <a:gd name="connsiteY57" fmla="*/ 419957 h 963549"/>
              <a:gd name="connsiteX58" fmla="*/ 767239 w 7482459"/>
              <a:gd name="connsiteY58" fmla="*/ 419957 h 963549"/>
              <a:gd name="connsiteX59" fmla="*/ 691229 w 7482459"/>
              <a:gd name="connsiteY59" fmla="*/ 291370 h 963549"/>
              <a:gd name="connsiteX60" fmla="*/ 689229 w 7482459"/>
              <a:gd name="connsiteY60" fmla="*/ 210407 h 963549"/>
              <a:gd name="connsiteX61" fmla="*/ 640271 w 7482459"/>
              <a:gd name="connsiteY61" fmla="*/ 144399 h 963549"/>
              <a:gd name="connsiteX62" fmla="*/ 532352 w 7482459"/>
              <a:gd name="connsiteY62" fmla="*/ 143447 h 963549"/>
              <a:gd name="connsiteX63" fmla="*/ 483108 w 7482459"/>
              <a:gd name="connsiteY63" fmla="*/ 228410 h 963549"/>
              <a:gd name="connsiteX64" fmla="*/ 271082 w 7482459"/>
              <a:gd name="connsiteY64" fmla="*/ 228410 h 963549"/>
              <a:gd name="connsiteX65" fmla="*/ 227743 w 7482459"/>
              <a:gd name="connsiteY65" fmla="*/ 156782 h 963549"/>
              <a:gd name="connsiteX66" fmla="*/ 200216 w 7482459"/>
              <a:gd name="connsiteY66" fmla="*/ 156782 h 963549"/>
              <a:gd name="connsiteX67" fmla="*/ 152019 w 7482459"/>
              <a:gd name="connsiteY67" fmla="*/ 248126 h 963549"/>
              <a:gd name="connsiteX68" fmla="*/ 150781 w 7482459"/>
              <a:gd name="connsiteY68" fmla="*/ 298990 h 963549"/>
              <a:gd name="connsiteX69" fmla="*/ 153638 w 7482459"/>
              <a:gd name="connsiteY69" fmla="*/ 303562 h 963549"/>
              <a:gd name="connsiteX70" fmla="*/ 157353 w 7482459"/>
              <a:gd name="connsiteY70" fmla="*/ 303467 h 963549"/>
              <a:gd name="connsiteX71" fmla="*/ 161068 w 7482459"/>
              <a:gd name="connsiteY71" fmla="*/ 298990 h 963549"/>
              <a:gd name="connsiteX72" fmla="*/ 525304 w 7482459"/>
              <a:gd name="connsiteY72" fmla="*/ 299180 h 963549"/>
              <a:gd name="connsiteX73" fmla="*/ 578739 w 7482459"/>
              <a:gd name="connsiteY73" fmla="*/ 213741 h 963549"/>
              <a:gd name="connsiteX74" fmla="*/ 607314 w 7482459"/>
              <a:gd name="connsiteY74" fmla="*/ 213741 h 963549"/>
              <a:gd name="connsiteX75" fmla="*/ 629317 w 7482459"/>
              <a:gd name="connsiteY75" fmla="*/ 242697 h 963549"/>
              <a:gd name="connsiteX76" fmla="*/ 629317 w 7482459"/>
              <a:gd name="connsiteY76" fmla="*/ 322326 h 963549"/>
              <a:gd name="connsiteX77" fmla="*/ 704945 w 7482459"/>
              <a:gd name="connsiteY77" fmla="*/ 449294 h 963549"/>
              <a:gd name="connsiteX78" fmla="*/ 648938 w 7482459"/>
              <a:gd name="connsiteY78" fmla="*/ 533400 h 963549"/>
              <a:gd name="connsiteX79" fmla="*/ 647510 w 7482459"/>
              <a:gd name="connsiteY79" fmla="*/ 650558 h 963549"/>
              <a:gd name="connsiteX80" fmla="*/ 603409 w 7482459"/>
              <a:gd name="connsiteY80" fmla="*/ 716852 h 963549"/>
              <a:gd name="connsiteX81" fmla="*/ 563404 w 7482459"/>
              <a:gd name="connsiteY81" fmla="*/ 649700 h 963549"/>
              <a:gd name="connsiteX82" fmla="*/ 563404 w 7482459"/>
              <a:gd name="connsiteY82" fmla="*/ 578644 h 963549"/>
              <a:gd name="connsiteX83" fmla="*/ 537496 w 7482459"/>
              <a:gd name="connsiteY83" fmla="*/ 536258 h 963549"/>
              <a:gd name="connsiteX84" fmla="*/ 537496 w 7482459"/>
              <a:gd name="connsiteY84" fmla="*/ 436721 h 963549"/>
              <a:gd name="connsiteX85" fmla="*/ 498824 w 7482459"/>
              <a:gd name="connsiteY85" fmla="*/ 368999 h 963549"/>
              <a:gd name="connsiteX86" fmla="*/ 581120 w 7482459"/>
              <a:gd name="connsiteY86" fmla="*/ 368999 h 963549"/>
              <a:gd name="connsiteX87" fmla="*/ 627698 w 7482459"/>
              <a:gd name="connsiteY87" fmla="*/ 443579 h 963549"/>
              <a:gd name="connsiteX88" fmla="*/ 592550 w 7482459"/>
              <a:gd name="connsiteY88" fmla="*/ 496729 h 963549"/>
              <a:gd name="connsiteX0" fmla="*/ 8451880 w 8451880"/>
              <a:gd name="connsiteY0" fmla="*/ 0 h 963549"/>
              <a:gd name="connsiteX1" fmla="*/ 439579 w 8451880"/>
              <a:gd name="connsiteY1" fmla="*/ 0 h 963549"/>
              <a:gd name="connsiteX2" fmla="*/ 399955 w 8451880"/>
              <a:gd name="connsiteY2" fmla="*/ 72009 h 963549"/>
              <a:gd name="connsiteX3" fmla="*/ 351377 w 8451880"/>
              <a:gd name="connsiteY3" fmla="*/ 72390 h 963549"/>
              <a:gd name="connsiteX4" fmla="*/ 307467 w 8451880"/>
              <a:gd name="connsiteY4" fmla="*/ 0 h 963549"/>
              <a:gd name="connsiteX5" fmla="*/ 118967 w 8451880"/>
              <a:gd name="connsiteY5" fmla="*/ 0 h 963549"/>
              <a:gd name="connsiteX6" fmla="*/ 0 w 8451880"/>
              <a:gd name="connsiteY6" fmla="*/ 199739 h 963549"/>
              <a:gd name="connsiteX7" fmla="*/ 0 w 8451880"/>
              <a:gd name="connsiteY7" fmla="*/ 342138 h 963549"/>
              <a:gd name="connsiteX8" fmla="*/ 78296 w 8451880"/>
              <a:gd name="connsiteY8" fmla="*/ 463772 h 963549"/>
              <a:gd name="connsiteX9" fmla="*/ 204216 w 8451880"/>
              <a:gd name="connsiteY9" fmla="*/ 463772 h 963549"/>
              <a:gd name="connsiteX10" fmla="*/ 219647 w 8451880"/>
              <a:gd name="connsiteY10" fmla="*/ 437007 h 963549"/>
              <a:gd name="connsiteX11" fmla="*/ 381000 w 8451880"/>
              <a:gd name="connsiteY11" fmla="*/ 437007 h 963549"/>
              <a:gd name="connsiteX12" fmla="*/ 399288 w 8451880"/>
              <a:gd name="connsiteY12" fmla="*/ 469773 h 963549"/>
              <a:gd name="connsiteX13" fmla="*/ 399288 w 8451880"/>
              <a:gd name="connsiteY13" fmla="*/ 568071 h 963549"/>
              <a:gd name="connsiteX14" fmla="*/ 434245 w 8451880"/>
              <a:gd name="connsiteY14" fmla="*/ 628841 h 963549"/>
              <a:gd name="connsiteX15" fmla="*/ 434054 w 8451880"/>
              <a:gd name="connsiteY15" fmla="*/ 693325 h 963549"/>
              <a:gd name="connsiteX16" fmla="*/ 492728 w 8451880"/>
              <a:gd name="connsiteY16" fmla="*/ 800005 h 963549"/>
              <a:gd name="connsiteX17" fmla="*/ 492728 w 8451880"/>
              <a:gd name="connsiteY17" fmla="*/ 884873 h 963549"/>
              <a:gd name="connsiteX18" fmla="*/ 559118 w 8451880"/>
              <a:gd name="connsiteY18" fmla="*/ 962978 h 963549"/>
              <a:gd name="connsiteX19" fmla="*/ 645414 w 8451880"/>
              <a:gd name="connsiteY19" fmla="*/ 963549 h 963549"/>
              <a:gd name="connsiteX20" fmla="*/ 688372 w 8451880"/>
              <a:gd name="connsiteY20" fmla="*/ 892112 h 963549"/>
              <a:gd name="connsiteX21" fmla="*/ 688372 w 8451880"/>
              <a:gd name="connsiteY21" fmla="*/ 837914 h 963549"/>
              <a:gd name="connsiteX22" fmla="*/ 784479 w 8451880"/>
              <a:gd name="connsiteY22" fmla="*/ 687229 h 963549"/>
              <a:gd name="connsiteX23" fmla="*/ 784479 w 8451880"/>
              <a:gd name="connsiteY23" fmla="*/ 586169 h 963549"/>
              <a:gd name="connsiteX24" fmla="*/ 831152 w 8451880"/>
              <a:gd name="connsiteY24" fmla="*/ 512636 h 963549"/>
              <a:gd name="connsiteX25" fmla="*/ 886968 w 8451880"/>
              <a:gd name="connsiteY25" fmla="*/ 513207 h 963549"/>
              <a:gd name="connsiteX26" fmla="*/ 979075 w 8451880"/>
              <a:gd name="connsiteY26" fmla="*/ 352139 h 963549"/>
              <a:gd name="connsiteX27" fmla="*/ 809530 w 8451880"/>
              <a:gd name="connsiteY27" fmla="*/ 352139 h 963549"/>
              <a:gd name="connsiteX28" fmla="*/ 761333 w 8451880"/>
              <a:gd name="connsiteY28" fmla="*/ 269367 h 963549"/>
              <a:gd name="connsiteX29" fmla="*/ 761429 w 8451880"/>
              <a:gd name="connsiteY29" fmla="*/ 189357 h 963549"/>
              <a:gd name="connsiteX30" fmla="*/ 681419 w 8451880"/>
              <a:gd name="connsiteY30" fmla="*/ 77438 h 963549"/>
              <a:gd name="connsiteX31" fmla="*/ 655511 w 8451880"/>
              <a:gd name="connsiteY31" fmla="*/ 77438 h 963549"/>
              <a:gd name="connsiteX32" fmla="*/ 487299 w 8451880"/>
              <a:gd name="connsiteY32" fmla="*/ 77438 h 963549"/>
              <a:gd name="connsiteX33" fmla="*/ 443293 w 8451880"/>
              <a:gd name="connsiteY33" fmla="*/ 153448 h 963549"/>
              <a:gd name="connsiteX34" fmla="*/ 316421 w 8451880"/>
              <a:gd name="connsiteY34" fmla="*/ 153448 h 963549"/>
              <a:gd name="connsiteX35" fmla="*/ 265843 w 8451880"/>
              <a:gd name="connsiteY35" fmla="*/ 67056 h 963549"/>
              <a:gd name="connsiteX36" fmla="*/ 159639 w 8451880"/>
              <a:gd name="connsiteY36" fmla="*/ 67056 h 963549"/>
              <a:gd name="connsiteX37" fmla="*/ 71914 w 8451880"/>
              <a:gd name="connsiteY37" fmla="*/ 225457 h 963549"/>
              <a:gd name="connsiteX38" fmla="*/ 71914 w 8451880"/>
              <a:gd name="connsiteY38" fmla="*/ 311753 h 963549"/>
              <a:gd name="connsiteX39" fmla="*/ 121825 w 8451880"/>
              <a:gd name="connsiteY39" fmla="*/ 393192 h 963549"/>
              <a:gd name="connsiteX40" fmla="*/ 160687 w 8451880"/>
              <a:gd name="connsiteY40" fmla="*/ 393192 h 963549"/>
              <a:gd name="connsiteX41" fmla="*/ 173260 w 8451880"/>
              <a:gd name="connsiteY41" fmla="*/ 370332 h 963549"/>
              <a:gd name="connsiteX42" fmla="*/ 416433 w 8451880"/>
              <a:gd name="connsiteY42" fmla="*/ 370332 h 963549"/>
              <a:gd name="connsiteX43" fmla="*/ 465392 w 8451880"/>
              <a:gd name="connsiteY43" fmla="*/ 455676 h 963549"/>
              <a:gd name="connsiteX44" fmla="*/ 465392 w 8451880"/>
              <a:gd name="connsiteY44" fmla="*/ 556736 h 963549"/>
              <a:gd name="connsiteX45" fmla="*/ 500443 w 8451880"/>
              <a:gd name="connsiteY45" fmla="*/ 616839 h 963549"/>
              <a:gd name="connsiteX46" fmla="*/ 500443 w 8451880"/>
              <a:gd name="connsiteY46" fmla="*/ 678275 h 963549"/>
              <a:gd name="connsiteX47" fmla="*/ 563309 w 8451880"/>
              <a:gd name="connsiteY47" fmla="*/ 783527 h 963549"/>
              <a:gd name="connsiteX48" fmla="*/ 563309 w 8451880"/>
              <a:gd name="connsiteY48" fmla="*/ 847344 h 963549"/>
              <a:gd name="connsiteX49" fmla="*/ 594932 w 8451880"/>
              <a:gd name="connsiteY49" fmla="*/ 888492 h 963549"/>
              <a:gd name="connsiteX50" fmla="*/ 609124 w 8451880"/>
              <a:gd name="connsiteY50" fmla="*/ 888492 h 963549"/>
              <a:gd name="connsiteX51" fmla="*/ 628460 w 8451880"/>
              <a:gd name="connsiteY51" fmla="*/ 856488 h 963549"/>
              <a:gd name="connsiteX52" fmla="*/ 628460 w 8451880"/>
              <a:gd name="connsiteY52" fmla="*/ 810292 h 963549"/>
              <a:gd name="connsiteX53" fmla="*/ 717899 w 8451880"/>
              <a:gd name="connsiteY53" fmla="*/ 667226 h 963549"/>
              <a:gd name="connsiteX54" fmla="*/ 718566 w 8451880"/>
              <a:gd name="connsiteY54" fmla="*/ 556165 h 963549"/>
              <a:gd name="connsiteX55" fmla="*/ 790956 w 8451880"/>
              <a:gd name="connsiteY55" fmla="*/ 448056 h 963549"/>
              <a:gd name="connsiteX56" fmla="*/ 843725 w 8451880"/>
              <a:gd name="connsiteY56" fmla="*/ 447770 h 963549"/>
              <a:gd name="connsiteX57" fmla="*/ 861060 w 8451880"/>
              <a:gd name="connsiteY57" fmla="*/ 419957 h 963549"/>
              <a:gd name="connsiteX58" fmla="*/ 767239 w 8451880"/>
              <a:gd name="connsiteY58" fmla="*/ 419957 h 963549"/>
              <a:gd name="connsiteX59" fmla="*/ 691229 w 8451880"/>
              <a:gd name="connsiteY59" fmla="*/ 291370 h 963549"/>
              <a:gd name="connsiteX60" fmla="*/ 689229 w 8451880"/>
              <a:gd name="connsiteY60" fmla="*/ 210407 h 963549"/>
              <a:gd name="connsiteX61" fmla="*/ 640271 w 8451880"/>
              <a:gd name="connsiteY61" fmla="*/ 144399 h 963549"/>
              <a:gd name="connsiteX62" fmla="*/ 532352 w 8451880"/>
              <a:gd name="connsiteY62" fmla="*/ 143447 h 963549"/>
              <a:gd name="connsiteX63" fmla="*/ 483108 w 8451880"/>
              <a:gd name="connsiteY63" fmla="*/ 228410 h 963549"/>
              <a:gd name="connsiteX64" fmla="*/ 271082 w 8451880"/>
              <a:gd name="connsiteY64" fmla="*/ 228410 h 963549"/>
              <a:gd name="connsiteX65" fmla="*/ 227743 w 8451880"/>
              <a:gd name="connsiteY65" fmla="*/ 156782 h 963549"/>
              <a:gd name="connsiteX66" fmla="*/ 200216 w 8451880"/>
              <a:gd name="connsiteY66" fmla="*/ 156782 h 963549"/>
              <a:gd name="connsiteX67" fmla="*/ 152019 w 8451880"/>
              <a:gd name="connsiteY67" fmla="*/ 248126 h 963549"/>
              <a:gd name="connsiteX68" fmla="*/ 150781 w 8451880"/>
              <a:gd name="connsiteY68" fmla="*/ 298990 h 963549"/>
              <a:gd name="connsiteX69" fmla="*/ 153638 w 8451880"/>
              <a:gd name="connsiteY69" fmla="*/ 303562 h 963549"/>
              <a:gd name="connsiteX70" fmla="*/ 157353 w 8451880"/>
              <a:gd name="connsiteY70" fmla="*/ 303467 h 963549"/>
              <a:gd name="connsiteX71" fmla="*/ 161068 w 8451880"/>
              <a:gd name="connsiteY71" fmla="*/ 298990 h 963549"/>
              <a:gd name="connsiteX72" fmla="*/ 525304 w 8451880"/>
              <a:gd name="connsiteY72" fmla="*/ 299180 h 963549"/>
              <a:gd name="connsiteX73" fmla="*/ 578739 w 8451880"/>
              <a:gd name="connsiteY73" fmla="*/ 213741 h 963549"/>
              <a:gd name="connsiteX74" fmla="*/ 607314 w 8451880"/>
              <a:gd name="connsiteY74" fmla="*/ 213741 h 963549"/>
              <a:gd name="connsiteX75" fmla="*/ 629317 w 8451880"/>
              <a:gd name="connsiteY75" fmla="*/ 242697 h 963549"/>
              <a:gd name="connsiteX76" fmla="*/ 629317 w 8451880"/>
              <a:gd name="connsiteY76" fmla="*/ 322326 h 963549"/>
              <a:gd name="connsiteX77" fmla="*/ 704945 w 8451880"/>
              <a:gd name="connsiteY77" fmla="*/ 449294 h 963549"/>
              <a:gd name="connsiteX78" fmla="*/ 648938 w 8451880"/>
              <a:gd name="connsiteY78" fmla="*/ 533400 h 963549"/>
              <a:gd name="connsiteX79" fmla="*/ 647510 w 8451880"/>
              <a:gd name="connsiteY79" fmla="*/ 650558 h 963549"/>
              <a:gd name="connsiteX80" fmla="*/ 603409 w 8451880"/>
              <a:gd name="connsiteY80" fmla="*/ 716852 h 963549"/>
              <a:gd name="connsiteX81" fmla="*/ 563404 w 8451880"/>
              <a:gd name="connsiteY81" fmla="*/ 649700 h 963549"/>
              <a:gd name="connsiteX82" fmla="*/ 563404 w 8451880"/>
              <a:gd name="connsiteY82" fmla="*/ 578644 h 963549"/>
              <a:gd name="connsiteX83" fmla="*/ 537496 w 8451880"/>
              <a:gd name="connsiteY83" fmla="*/ 536258 h 963549"/>
              <a:gd name="connsiteX84" fmla="*/ 537496 w 8451880"/>
              <a:gd name="connsiteY84" fmla="*/ 436721 h 963549"/>
              <a:gd name="connsiteX85" fmla="*/ 498824 w 8451880"/>
              <a:gd name="connsiteY85" fmla="*/ 368999 h 963549"/>
              <a:gd name="connsiteX86" fmla="*/ 581120 w 8451880"/>
              <a:gd name="connsiteY86" fmla="*/ 368999 h 963549"/>
              <a:gd name="connsiteX87" fmla="*/ 627698 w 8451880"/>
              <a:gd name="connsiteY87" fmla="*/ 443579 h 963549"/>
              <a:gd name="connsiteX88" fmla="*/ 592550 w 8451880"/>
              <a:gd name="connsiteY88" fmla="*/ 496729 h 963549"/>
              <a:gd name="connsiteX0" fmla="*/ 14996512 w 14996512"/>
              <a:gd name="connsiteY0" fmla="*/ 19893 h 963549"/>
              <a:gd name="connsiteX1" fmla="*/ 439579 w 14996512"/>
              <a:gd name="connsiteY1" fmla="*/ 0 h 963549"/>
              <a:gd name="connsiteX2" fmla="*/ 399955 w 14996512"/>
              <a:gd name="connsiteY2" fmla="*/ 72009 h 963549"/>
              <a:gd name="connsiteX3" fmla="*/ 351377 w 14996512"/>
              <a:gd name="connsiteY3" fmla="*/ 72390 h 963549"/>
              <a:gd name="connsiteX4" fmla="*/ 307467 w 14996512"/>
              <a:gd name="connsiteY4" fmla="*/ 0 h 963549"/>
              <a:gd name="connsiteX5" fmla="*/ 118967 w 14996512"/>
              <a:gd name="connsiteY5" fmla="*/ 0 h 963549"/>
              <a:gd name="connsiteX6" fmla="*/ 0 w 14996512"/>
              <a:gd name="connsiteY6" fmla="*/ 199739 h 963549"/>
              <a:gd name="connsiteX7" fmla="*/ 0 w 14996512"/>
              <a:gd name="connsiteY7" fmla="*/ 342138 h 963549"/>
              <a:gd name="connsiteX8" fmla="*/ 78296 w 14996512"/>
              <a:gd name="connsiteY8" fmla="*/ 463772 h 963549"/>
              <a:gd name="connsiteX9" fmla="*/ 204216 w 14996512"/>
              <a:gd name="connsiteY9" fmla="*/ 463772 h 963549"/>
              <a:gd name="connsiteX10" fmla="*/ 219647 w 14996512"/>
              <a:gd name="connsiteY10" fmla="*/ 437007 h 963549"/>
              <a:gd name="connsiteX11" fmla="*/ 381000 w 14996512"/>
              <a:gd name="connsiteY11" fmla="*/ 437007 h 963549"/>
              <a:gd name="connsiteX12" fmla="*/ 399288 w 14996512"/>
              <a:gd name="connsiteY12" fmla="*/ 469773 h 963549"/>
              <a:gd name="connsiteX13" fmla="*/ 399288 w 14996512"/>
              <a:gd name="connsiteY13" fmla="*/ 568071 h 963549"/>
              <a:gd name="connsiteX14" fmla="*/ 434245 w 14996512"/>
              <a:gd name="connsiteY14" fmla="*/ 628841 h 963549"/>
              <a:gd name="connsiteX15" fmla="*/ 434054 w 14996512"/>
              <a:gd name="connsiteY15" fmla="*/ 693325 h 963549"/>
              <a:gd name="connsiteX16" fmla="*/ 492728 w 14996512"/>
              <a:gd name="connsiteY16" fmla="*/ 800005 h 963549"/>
              <a:gd name="connsiteX17" fmla="*/ 492728 w 14996512"/>
              <a:gd name="connsiteY17" fmla="*/ 884873 h 963549"/>
              <a:gd name="connsiteX18" fmla="*/ 559118 w 14996512"/>
              <a:gd name="connsiteY18" fmla="*/ 962978 h 963549"/>
              <a:gd name="connsiteX19" fmla="*/ 645414 w 14996512"/>
              <a:gd name="connsiteY19" fmla="*/ 963549 h 963549"/>
              <a:gd name="connsiteX20" fmla="*/ 688372 w 14996512"/>
              <a:gd name="connsiteY20" fmla="*/ 892112 h 963549"/>
              <a:gd name="connsiteX21" fmla="*/ 688372 w 14996512"/>
              <a:gd name="connsiteY21" fmla="*/ 837914 h 963549"/>
              <a:gd name="connsiteX22" fmla="*/ 784479 w 14996512"/>
              <a:gd name="connsiteY22" fmla="*/ 687229 h 963549"/>
              <a:gd name="connsiteX23" fmla="*/ 784479 w 14996512"/>
              <a:gd name="connsiteY23" fmla="*/ 586169 h 963549"/>
              <a:gd name="connsiteX24" fmla="*/ 831152 w 14996512"/>
              <a:gd name="connsiteY24" fmla="*/ 512636 h 963549"/>
              <a:gd name="connsiteX25" fmla="*/ 886968 w 14996512"/>
              <a:gd name="connsiteY25" fmla="*/ 513207 h 963549"/>
              <a:gd name="connsiteX26" fmla="*/ 979075 w 14996512"/>
              <a:gd name="connsiteY26" fmla="*/ 352139 h 963549"/>
              <a:gd name="connsiteX27" fmla="*/ 809530 w 14996512"/>
              <a:gd name="connsiteY27" fmla="*/ 352139 h 963549"/>
              <a:gd name="connsiteX28" fmla="*/ 761333 w 14996512"/>
              <a:gd name="connsiteY28" fmla="*/ 269367 h 963549"/>
              <a:gd name="connsiteX29" fmla="*/ 761429 w 14996512"/>
              <a:gd name="connsiteY29" fmla="*/ 189357 h 963549"/>
              <a:gd name="connsiteX30" fmla="*/ 681419 w 14996512"/>
              <a:gd name="connsiteY30" fmla="*/ 77438 h 963549"/>
              <a:gd name="connsiteX31" fmla="*/ 655511 w 14996512"/>
              <a:gd name="connsiteY31" fmla="*/ 77438 h 963549"/>
              <a:gd name="connsiteX32" fmla="*/ 487299 w 14996512"/>
              <a:gd name="connsiteY32" fmla="*/ 77438 h 963549"/>
              <a:gd name="connsiteX33" fmla="*/ 443293 w 14996512"/>
              <a:gd name="connsiteY33" fmla="*/ 153448 h 963549"/>
              <a:gd name="connsiteX34" fmla="*/ 316421 w 14996512"/>
              <a:gd name="connsiteY34" fmla="*/ 153448 h 963549"/>
              <a:gd name="connsiteX35" fmla="*/ 265843 w 14996512"/>
              <a:gd name="connsiteY35" fmla="*/ 67056 h 963549"/>
              <a:gd name="connsiteX36" fmla="*/ 159639 w 14996512"/>
              <a:gd name="connsiteY36" fmla="*/ 67056 h 963549"/>
              <a:gd name="connsiteX37" fmla="*/ 71914 w 14996512"/>
              <a:gd name="connsiteY37" fmla="*/ 225457 h 963549"/>
              <a:gd name="connsiteX38" fmla="*/ 71914 w 14996512"/>
              <a:gd name="connsiteY38" fmla="*/ 311753 h 963549"/>
              <a:gd name="connsiteX39" fmla="*/ 121825 w 14996512"/>
              <a:gd name="connsiteY39" fmla="*/ 393192 h 963549"/>
              <a:gd name="connsiteX40" fmla="*/ 160687 w 14996512"/>
              <a:gd name="connsiteY40" fmla="*/ 393192 h 963549"/>
              <a:gd name="connsiteX41" fmla="*/ 173260 w 14996512"/>
              <a:gd name="connsiteY41" fmla="*/ 370332 h 963549"/>
              <a:gd name="connsiteX42" fmla="*/ 416433 w 14996512"/>
              <a:gd name="connsiteY42" fmla="*/ 370332 h 963549"/>
              <a:gd name="connsiteX43" fmla="*/ 465392 w 14996512"/>
              <a:gd name="connsiteY43" fmla="*/ 455676 h 963549"/>
              <a:gd name="connsiteX44" fmla="*/ 465392 w 14996512"/>
              <a:gd name="connsiteY44" fmla="*/ 556736 h 963549"/>
              <a:gd name="connsiteX45" fmla="*/ 500443 w 14996512"/>
              <a:gd name="connsiteY45" fmla="*/ 616839 h 963549"/>
              <a:gd name="connsiteX46" fmla="*/ 500443 w 14996512"/>
              <a:gd name="connsiteY46" fmla="*/ 678275 h 963549"/>
              <a:gd name="connsiteX47" fmla="*/ 563309 w 14996512"/>
              <a:gd name="connsiteY47" fmla="*/ 783527 h 963549"/>
              <a:gd name="connsiteX48" fmla="*/ 563309 w 14996512"/>
              <a:gd name="connsiteY48" fmla="*/ 847344 h 963549"/>
              <a:gd name="connsiteX49" fmla="*/ 594932 w 14996512"/>
              <a:gd name="connsiteY49" fmla="*/ 888492 h 963549"/>
              <a:gd name="connsiteX50" fmla="*/ 609124 w 14996512"/>
              <a:gd name="connsiteY50" fmla="*/ 888492 h 963549"/>
              <a:gd name="connsiteX51" fmla="*/ 628460 w 14996512"/>
              <a:gd name="connsiteY51" fmla="*/ 856488 h 963549"/>
              <a:gd name="connsiteX52" fmla="*/ 628460 w 14996512"/>
              <a:gd name="connsiteY52" fmla="*/ 810292 h 963549"/>
              <a:gd name="connsiteX53" fmla="*/ 717899 w 14996512"/>
              <a:gd name="connsiteY53" fmla="*/ 667226 h 963549"/>
              <a:gd name="connsiteX54" fmla="*/ 718566 w 14996512"/>
              <a:gd name="connsiteY54" fmla="*/ 556165 h 963549"/>
              <a:gd name="connsiteX55" fmla="*/ 790956 w 14996512"/>
              <a:gd name="connsiteY55" fmla="*/ 448056 h 963549"/>
              <a:gd name="connsiteX56" fmla="*/ 843725 w 14996512"/>
              <a:gd name="connsiteY56" fmla="*/ 447770 h 963549"/>
              <a:gd name="connsiteX57" fmla="*/ 861060 w 14996512"/>
              <a:gd name="connsiteY57" fmla="*/ 419957 h 963549"/>
              <a:gd name="connsiteX58" fmla="*/ 767239 w 14996512"/>
              <a:gd name="connsiteY58" fmla="*/ 419957 h 963549"/>
              <a:gd name="connsiteX59" fmla="*/ 691229 w 14996512"/>
              <a:gd name="connsiteY59" fmla="*/ 291370 h 963549"/>
              <a:gd name="connsiteX60" fmla="*/ 689229 w 14996512"/>
              <a:gd name="connsiteY60" fmla="*/ 210407 h 963549"/>
              <a:gd name="connsiteX61" fmla="*/ 640271 w 14996512"/>
              <a:gd name="connsiteY61" fmla="*/ 144399 h 963549"/>
              <a:gd name="connsiteX62" fmla="*/ 532352 w 14996512"/>
              <a:gd name="connsiteY62" fmla="*/ 143447 h 963549"/>
              <a:gd name="connsiteX63" fmla="*/ 483108 w 14996512"/>
              <a:gd name="connsiteY63" fmla="*/ 228410 h 963549"/>
              <a:gd name="connsiteX64" fmla="*/ 271082 w 14996512"/>
              <a:gd name="connsiteY64" fmla="*/ 228410 h 963549"/>
              <a:gd name="connsiteX65" fmla="*/ 227743 w 14996512"/>
              <a:gd name="connsiteY65" fmla="*/ 156782 h 963549"/>
              <a:gd name="connsiteX66" fmla="*/ 200216 w 14996512"/>
              <a:gd name="connsiteY66" fmla="*/ 156782 h 963549"/>
              <a:gd name="connsiteX67" fmla="*/ 152019 w 14996512"/>
              <a:gd name="connsiteY67" fmla="*/ 248126 h 963549"/>
              <a:gd name="connsiteX68" fmla="*/ 150781 w 14996512"/>
              <a:gd name="connsiteY68" fmla="*/ 298990 h 963549"/>
              <a:gd name="connsiteX69" fmla="*/ 153638 w 14996512"/>
              <a:gd name="connsiteY69" fmla="*/ 303562 h 963549"/>
              <a:gd name="connsiteX70" fmla="*/ 157353 w 14996512"/>
              <a:gd name="connsiteY70" fmla="*/ 303467 h 963549"/>
              <a:gd name="connsiteX71" fmla="*/ 161068 w 14996512"/>
              <a:gd name="connsiteY71" fmla="*/ 298990 h 963549"/>
              <a:gd name="connsiteX72" fmla="*/ 525304 w 14996512"/>
              <a:gd name="connsiteY72" fmla="*/ 299180 h 963549"/>
              <a:gd name="connsiteX73" fmla="*/ 578739 w 14996512"/>
              <a:gd name="connsiteY73" fmla="*/ 213741 h 963549"/>
              <a:gd name="connsiteX74" fmla="*/ 607314 w 14996512"/>
              <a:gd name="connsiteY74" fmla="*/ 213741 h 963549"/>
              <a:gd name="connsiteX75" fmla="*/ 629317 w 14996512"/>
              <a:gd name="connsiteY75" fmla="*/ 242697 h 963549"/>
              <a:gd name="connsiteX76" fmla="*/ 629317 w 14996512"/>
              <a:gd name="connsiteY76" fmla="*/ 322326 h 963549"/>
              <a:gd name="connsiteX77" fmla="*/ 704945 w 14996512"/>
              <a:gd name="connsiteY77" fmla="*/ 449294 h 963549"/>
              <a:gd name="connsiteX78" fmla="*/ 648938 w 14996512"/>
              <a:gd name="connsiteY78" fmla="*/ 533400 h 963549"/>
              <a:gd name="connsiteX79" fmla="*/ 647510 w 14996512"/>
              <a:gd name="connsiteY79" fmla="*/ 650558 h 963549"/>
              <a:gd name="connsiteX80" fmla="*/ 603409 w 14996512"/>
              <a:gd name="connsiteY80" fmla="*/ 716852 h 963549"/>
              <a:gd name="connsiteX81" fmla="*/ 563404 w 14996512"/>
              <a:gd name="connsiteY81" fmla="*/ 649700 h 963549"/>
              <a:gd name="connsiteX82" fmla="*/ 563404 w 14996512"/>
              <a:gd name="connsiteY82" fmla="*/ 578644 h 963549"/>
              <a:gd name="connsiteX83" fmla="*/ 537496 w 14996512"/>
              <a:gd name="connsiteY83" fmla="*/ 536258 h 963549"/>
              <a:gd name="connsiteX84" fmla="*/ 537496 w 14996512"/>
              <a:gd name="connsiteY84" fmla="*/ 436721 h 963549"/>
              <a:gd name="connsiteX85" fmla="*/ 498824 w 14996512"/>
              <a:gd name="connsiteY85" fmla="*/ 368999 h 963549"/>
              <a:gd name="connsiteX86" fmla="*/ 581120 w 14996512"/>
              <a:gd name="connsiteY86" fmla="*/ 368999 h 963549"/>
              <a:gd name="connsiteX87" fmla="*/ 627698 w 14996512"/>
              <a:gd name="connsiteY87" fmla="*/ 443579 h 963549"/>
              <a:gd name="connsiteX88" fmla="*/ 592550 w 14996512"/>
              <a:gd name="connsiteY88" fmla="*/ 496729 h 963549"/>
              <a:gd name="connsiteX0" fmla="*/ 15115867 w 15115867"/>
              <a:gd name="connsiteY0" fmla="*/ 0 h 1023226"/>
              <a:gd name="connsiteX1" fmla="*/ 439579 w 15115867"/>
              <a:gd name="connsiteY1" fmla="*/ 59677 h 1023226"/>
              <a:gd name="connsiteX2" fmla="*/ 399955 w 15115867"/>
              <a:gd name="connsiteY2" fmla="*/ 131686 h 1023226"/>
              <a:gd name="connsiteX3" fmla="*/ 351377 w 15115867"/>
              <a:gd name="connsiteY3" fmla="*/ 132067 h 1023226"/>
              <a:gd name="connsiteX4" fmla="*/ 307467 w 15115867"/>
              <a:gd name="connsiteY4" fmla="*/ 59677 h 1023226"/>
              <a:gd name="connsiteX5" fmla="*/ 118967 w 15115867"/>
              <a:gd name="connsiteY5" fmla="*/ 59677 h 1023226"/>
              <a:gd name="connsiteX6" fmla="*/ 0 w 15115867"/>
              <a:gd name="connsiteY6" fmla="*/ 259416 h 1023226"/>
              <a:gd name="connsiteX7" fmla="*/ 0 w 15115867"/>
              <a:gd name="connsiteY7" fmla="*/ 401815 h 1023226"/>
              <a:gd name="connsiteX8" fmla="*/ 78296 w 15115867"/>
              <a:gd name="connsiteY8" fmla="*/ 523449 h 1023226"/>
              <a:gd name="connsiteX9" fmla="*/ 204216 w 15115867"/>
              <a:gd name="connsiteY9" fmla="*/ 523449 h 1023226"/>
              <a:gd name="connsiteX10" fmla="*/ 219647 w 15115867"/>
              <a:gd name="connsiteY10" fmla="*/ 496684 h 1023226"/>
              <a:gd name="connsiteX11" fmla="*/ 381000 w 15115867"/>
              <a:gd name="connsiteY11" fmla="*/ 496684 h 1023226"/>
              <a:gd name="connsiteX12" fmla="*/ 399288 w 15115867"/>
              <a:gd name="connsiteY12" fmla="*/ 529450 h 1023226"/>
              <a:gd name="connsiteX13" fmla="*/ 399288 w 15115867"/>
              <a:gd name="connsiteY13" fmla="*/ 627748 h 1023226"/>
              <a:gd name="connsiteX14" fmla="*/ 434245 w 15115867"/>
              <a:gd name="connsiteY14" fmla="*/ 688518 h 1023226"/>
              <a:gd name="connsiteX15" fmla="*/ 434054 w 15115867"/>
              <a:gd name="connsiteY15" fmla="*/ 753002 h 1023226"/>
              <a:gd name="connsiteX16" fmla="*/ 492728 w 15115867"/>
              <a:gd name="connsiteY16" fmla="*/ 859682 h 1023226"/>
              <a:gd name="connsiteX17" fmla="*/ 492728 w 15115867"/>
              <a:gd name="connsiteY17" fmla="*/ 944550 h 1023226"/>
              <a:gd name="connsiteX18" fmla="*/ 559118 w 15115867"/>
              <a:gd name="connsiteY18" fmla="*/ 1022655 h 1023226"/>
              <a:gd name="connsiteX19" fmla="*/ 645414 w 15115867"/>
              <a:gd name="connsiteY19" fmla="*/ 1023226 h 1023226"/>
              <a:gd name="connsiteX20" fmla="*/ 688372 w 15115867"/>
              <a:gd name="connsiteY20" fmla="*/ 951789 h 1023226"/>
              <a:gd name="connsiteX21" fmla="*/ 688372 w 15115867"/>
              <a:gd name="connsiteY21" fmla="*/ 897591 h 1023226"/>
              <a:gd name="connsiteX22" fmla="*/ 784479 w 15115867"/>
              <a:gd name="connsiteY22" fmla="*/ 746906 h 1023226"/>
              <a:gd name="connsiteX23" fmla="*/ 784479 w 15115867"/>
              <a:gd name="connsiteY23" fmla="*/ 645846 h 1023226"/>
              <a:gd name="connsiteX24" fmla="*/ 831152 w 15115867"/>
              <a:gd name="connsiteY24" fmla="*/ 572313 h 1023226"/>
              <a:gd name="connsiteX25" fmla="*/ 886968 w 15115867"/>
              <a:gd name="connsiteY25" fmla="*/ 572884 h 1023226"/>
              <a:gd name="connsiteX26" fmla="*/ 979075 w 15115867"/>
              <a:gd name="connsiteY26" fmla="*/ 411816 h 1023226"/>
              <a:gd name="connsiteX27" fmla="*/ 809530 w 15115867"/>
              <a:gd name="connsiteY27" fmla="*/ 411816 h 1023226"/>
              <a:gd name="connsiteX28" fmla="*/ 761333 w 15115867"/>
              <a:gd name="connsiteY28" fmla="*/ 329044 h 1023226"/>
              <a:gd name="connsiteX29" fmla="*/ 761429 w 15115867"/>
              <a:gd name="connsiteY29" fmla="*/ 249034 h 1023226"/>
              <a:gd name="connsiteX30" fmla="*/ 681419 w 15115867"/>
              <a:gd name="connsiteY30" fmla="*/ 137115 h 1023226"/>
              <a:gd name="connsiteX31" fmla="*/ 655511 w 15115867"/>
              <a:gd name="connsiteY31" fmla="*/ 137115 h 1023226"/>
              <a:gd name="connsiteX32" fmla="*/ 487299 w 15115867"/>
              <a:gd name="connsiteY32" fmla="*/ 137115 h 1023226"/>
              <a:gd name="connsiteX33" fmla="*/ 443293 w 15115867"/>
              <a:gd name="connsiteY33" fmla="*/ 213125 h 1023226"/>
              <a:gd name="connsiteX34" fmla="*/ 316421 w 15115867"/>
              <a:gd name="connsiteY34" fmla="*/ 213125 h 1023226"/>
              <a:gd name="connsiteX35" fmla="*/ 265843 w 15115867"/>
              <a:gd name="connsiteY35" fmla="*/ 126733 h 1023226"/>
              <a:gd name="connsiteX36" fmla="*/ 159639 w 15115867"/>
              <a:gd name="connsiteY36" fmla="*/ 126733 h 1023226"/>
              <a:gd name="connsiteX37" fmla="*/ 71914 w 15115867"/>
              <a:gd name="connsiteY37" fmla="*/ 285134 h 1023226"/>
              <a:gd name="connsiteX38" fmla="*/ 71914 w 15115867"/>
              <a:gd name="connsiteY38" fmla="*/ 371430 h 1023226"/>
              <a:gd name="connsiteX39" fmla="*/ 121825 w 15115867"/>
              <a:gd name="connsiteY39" fmla="*/ 452869 h 1023226"/>
              <a:gd name="connsiteX40" fmla="*/ 160687 w 15115867"/>
              <a:gd name="connsiteY40" fmla="*/ 452869 h 1023226"/>
              <a:gd name="connsiteX41" fmla="*/ 173260 w 15115867"/>
              <a:gd name="connsiteY41" fmla="*/ 430009 h 1023226"/>
              <a:gd name="connsiteX42" fmla="*/ 416433 w 15115867"/>
              <a:gd name="connsiteY42" fmla="*/ 430009 h 1023226"/>
              <a:gd name="connsiteX43" fmla="*/ 465392 w 15115867"/>
              <a:gd name="connsiteY43" fmla="*/ 515353 h 1023226"/>
              <a:gd name="connsiteX44" fmla="*/ 465392 w 15115867"/>
              <a:gd name="connsiteY44" fmla="*/ 616413 h 1023226"/>
              <a:gd name="connsiteX45" fmla="*/ 500443 w 15115867"/>
              <a:gd name="connsiteY45" fmla="*/ 676516 h 1023226"/>
              <a:gd name="connsiteX46" fmla="*/ 500443 w 15115867"/>
              <a:gd name="connsiteY46" fmla="*/ 737952 h 1023226"/>
              <a:gd name="connsiteX47" fmla="*/ 563309 w 15115867"/>
              <a:gd name="connsiteY47" fmla="*/ 843204 h 1023226"/>
              <a:gd name="connsiteX48" fmla="*/ 563309 w 15115867"/>
              <a:gd name="connsiteY48" fmla="*/ 907021 h 1023226"/>
              <a:gd name="connsiteX49" fmla="*/ 594932 w 15115867"/>
              <a:gd name="connsiteY49" fmla="*/ 948169 h 1023226"/>
              <a:gd name="connsiteX50" fmla="*/ 609124 w 15115867"/>
              <a:gd name="connsiteY50" fmla="*/ 948169 h 1023226"/>
              <a:gd name="connsiteX51" fmla="*/ 628460 w 15115867"/>
              <a:gd name="connsiteY51" fmla="*/ 916165 h 1023226"/>
              <a:gd name="connsiteX52" fmla="*/ 628460 w 15115867"/>
              <a:gd name="connsiteY52" fmla="*/ 869969 h 1023226"/>
              <a:gd name="connsiteX53" fmla="*/ 717899 w 15115867"/>
              <a:gd name="connsiteY53" fmla="*/ 726903 h 1023226"/>
              <a:gd name="connsiteX54" fmla="*/ 718566 w 15115867"/>
              <a:gd name="connsiteY54" fmla="*/ 615842 h 1023226"/>
              <a:gd name="connsiteX55" fmla="*/ 790956 w 15115867"/>
              <a:gd name="connsiteY55" fmla="*/ 507733 h 1023226"/>
              <a:gd name="connsiteX56" fmla="*/ 843725 w 15115867"/>
              <a:gd name="connsiteY56" fmla="*/ 507447 h 1023226"/>
              <a:gd name="connsiteX57" fmla="*/ 861060 w 15115867"/>
              <a:gd name="connsiteY57" fmla="*/ 479634 h 1023226"/>
              <a:gd name="connsiteX58" fmla="*/ 767239 w 15115867"/>
              <a:gd name="connsiteY58" fmla="*/ 479634 h 1023226"/>
              <a:gd name="connsiteX59" fmla="*/ 691229 w 15115867"/>
              <a:gd name="connsiteY59" fmla="*/ 351047 h 1023226"/>
              <a:gd name="connsiteX60" fmla="*/ 689229 w 15115867"/>
              <a:gd name="connsiteY60" fmla="*/ 270084 h 1023226"/>
              <a:gd name="connsiteX61" fmla="*/ 640271 w 15115867"/>
              <a:gd name="connsiteY61" fmla="*/ 204076 h 1023226"/>
              <a:gd name="connsiteX62" fmla="*/ 532352 w 15115867"/>
              <a:gd name="connsiteY62" fmla="*/ 203124 h 1023226"/>
              <a:gd name="connsiteX63" fmla="*/ 483108 w 15115867"/>
              <a:gd name="connsiteY63" fmla="*/ 288087 h 1023226"/>
              <a:gd name="connsiteX64" fmla="*/ 271082 w 15115867"/>
              <a:gd name="connsiteY64" fmla="*/ 288087 h 1023226"/>
              <a:gd name="connsiteX65" fmla="*/ 227743 w 15115867"/>
              <a:gd name="connsiteY65" fmla="*/ 216459 h 1023226"/>
              <a:gd name="connsiteX66" fmla="*/ 200216 w 15115867"/>
              <a:gd name="connsiteY66" fmla="*/ 216459 h 1023226"/>
              <a:gd name="connsiteX67" fmla="*/ 152019 w 15115867"/>
              <a:gd name="connsiteY67" fmla="*/ 307803 h 1023226"/>
              <a:gd name="connsiteX68" fmla="*/ 150781 w 15115867"/>
              <a:gd name="connsiteY68" fmla="*/ 358667 h 1023226"/>
              <a:gd name="connsiteX69" fmla="*/ 153638 w 15115867"/>
              <a:gd name="connsiteY69" fmla="*/ 363239 h 1023226"/>
              <a:gd name="connsiteX70" fmla="*/ 157353 w 15115867"/>
              <a:gd name="connsiteY70" fmla="*/ 363144 h 1023226"/>
              <a:gd name="connsiteX71" fmla="*/ 161068 w 15115867"/>
              <a:gd name="connsiteY71" fmla="*/ 358667 h 1023226"/>
              <a:gd name="connsiteX72" fmla="*/ 525304 w 15115867"/>
              <a:gd name="connsiteY72" fmla="*/ 358857 h 1023226"/>
              <a:gd name="connsiteX73" fmla="*/ 578739 w 15115867"/>
              <a:gd name="connsiteY73" fmla="*/ 273418 h 1023226"/>
              <a:gd name="connsiteX74" fmla="*/ 607314 w 15115867"/>
              <a:gd name="connsiteY74" fmla="*/ 273418 h 1023226"/>
              <a:gd name="connsiteX75" fmla="*/ 629317 w 15115867"/>
              <a:gd name="connsiteY75" fmla="*/ 302374 h 1023226"/>
              <a:gd name="connsiteX76" fmla="*/ 629317 w 15115867"/>
              <a:gd name="connsiteY76" fmla="*/ 382003 h 1023226"/>
              <a:gd name="connsiteX77" fmla="*/ 704945 w 15115867"/>
              <a:gd name="connsiteY77" fmla="*/ 508971 h 1023226"/>
              <a:gd name="connsiteX78" fmla="*/ 648938 w 15115867"/>
              <a:gd name="connsiteY78" fmla="*/ 593077 h 1023226"/>
              <a:gd name="connsiteX79" fmla="*/ 647510 w 15115867"/>
              <a:gd name="connsiteY79" fmla="*/ 710235 h 1023226"/>
              <a:gd name="connsiteX80" fmla="*/ 603409 w 15115867"/>
              <a:gd name="connsiteY80" fmla="*/ 776529 h 1023226"/>
              <a:gd name="connsiteX81" fmla="*/ 563404 w 15115867"/>
              <a:gd name="connsiteY81" fmla="*/ 709377 h 1023226"/>
              <a:gd name="connsiteX82" fmla="*/ 563404 w 15115867"/>
              <a:gd name="connsiteY82" fmla="*/ 638321 h 1023226"/>
              <a:gd name="connsiteX83" fmla="*/ 537496 w 15115867"/>
              <a:gd name="connsiteY83" fmla="*/ 595935 h 1023226"/>
              <a:gd name="connsiteX84" fmla="*/ 537496 w 15115867"/>
              <a:gd name="connsiteY84" fmla="*/ 496398 h 1023226"/>
              <a:gd name="connsiteX85" fmla="*/ 498824 w 15115867"/>
              <a:gd name="connsiteY85" fmla="*/ 428676 h 1023226"/>
              <a:gd name="connsiteX86" fmla="*/ 581120 w 15115867"/>
              <a:gd name="connsiteY86" fmla="*/ 428676 h 1023226"/>
              <a:gd name="connsiteX87" fmla="*/ 627698 w 15115867"/>
              <a:gd name="connsiteY87" fmla="*/ 503256 h 1023226"/>
              <a:gd name="connsiteX88" fmla="*/ 592550 w 15115867"/>
              <a:gd name="connsiteY88" fmla="*/ 556406 h 1023226"/>
              <a:gd name="connsiteX0" fmla="*/ 15083451 w 15083451"/>
              <a:gd name="connsiteY0" fmla="*/ 5158 h 963549"/>
              <a:gd name="connsiteX1" fmla="*/ 439579 w 15083451"/>
              <a:gd name="connsiteY1" fmla="*/ 0 h 963549"/>
              <a:gd name="connsiteX2" fmla="*/ 399955 w 15083451"/>
              <a:gd name="connsiteY2" fmla="*/ 72009 h 963549"/>
              <a:gd name="connsiteX3" fmla="*/ 351377 w 15083451"/>
              <a:gd name="connsiteY3" fmla="*/ 72390 h 963549"/>
              <a:gd name="connsiteX4" fmla="*/ 307467 w 15083451"/>
              <a:gd name="connsiteY4" fmla="*/ 0 h 963549"/>
              <a:gd name="connsiteX5" fmla="*/ 118967 w 15083451"/>
              <a:gd name="connsiteY5" fmla="*/ 0 h 963549"/>
              <a:gd name="connsiteX6" fmla="*/ 0 w 15083451"/>
              <a:gd name="connsiteY6" fmla="*/ 199739 h 963549"/>
              <a:gd name="connsiteX7" fmla="*/ 0 w 15083451"/>
              <a:gd name="connsiteY7" fmla="*/ 342138 h 963549"/>
              <a:gd name="connsiteX8" fmla="*/ 78296 w 15083451"/>
              <a:gd name="connsiteY8" fmla="*/ 463772 h 963549"/>
              <a:gd name="connsiteX9" fmla="*/ 204216 w 15083451"/>
              <a:gd name="connsiteY9" fmla="*/ 463772 h 963549"/>
              <a:gd name="connsiteX10" fmla="*/ 219647 w 15083451"/>
              <a:gd name="connsiteY10" fmla="*/ 437007 h 963549"/>
              <a:gd name="connsiteX11" fmla="*/ 381000 w 15083451"/>
              <a:gd name="connsiteY11" fmla="*/ 437007 h 963549"/>
              <a:gd name="connsiteX12" fmla="*/ 399288 w 15083451"/>
              <a:gd name="connsiteY12" fmla="*/ 469773 h 963549"/>
              <a:gd name="connsiteX13" fmla="*/ 399288 w 15083451"/>
              <a:gd name="connsiteY13" fmla="*/ 568071 h 963549"/>
              <a:gd name="connsiteX14" fmla="*/ 434245 w 15083451"/>
              <a:gd name="connsiteY14" fmla="*/ 628841 h 963549"/>
              <a:gd name="connsiteX15" fmla="*/ 434054 w 15083451"/>
              <a:gd name="connsiteY15" fmla="*/ 693325 h 963549"/>
              <a:gd name="connsiteX16" fmla="*/ 492728 w 15083451"/>
              <a:gd name="connsiteY16" fmla="*/ 800005 h 963549"/>
              <a:gd name="connsiteX17" fmla="*/ 492728 w 15083451"/>
              <a:gd name="connsiteY17" fmla="*/ 884873 h 963549"/>
              <a:gd name="connsiteX18" fmla="*/ 559118 w 15083451"/>
              <a:gd name="connsiteY18" fmla="*/ 962978 h 963549"/>
              <a:gd name="connsiteX19" fmla="*/ 645414 w 15083451"/>
              <a:gd name="connsiteY19" fmla="*/ 963549 h 963549"/>
              <a:gd name="connsiteX20" fmla="*/ 688372 w 15083451"/>
              <a:gd name="connsiteY20" fmla="*/ 892112 h 963549"/>
              <a:gd name="connsiteX21" fmla="*/ 688372 w 15083451"/>
              <a:gd name="connsiteY21" fmla="*/ 837914 h 963549"/>
              <a:gd name="connsiteX22" fmla="*/ 784479 w 15083451"/>
              <a:gd name="connsiteY22" fmla="*/ 687229 h 963549"/>
              <a:gd name="connsiteX23" fmla="*/ 784479 w 15083451"/>
              <a:gd name="connsiteY23" fmla="*/ 586169 h 963549"/>
              <a:gd name="connsiteX24" fmla="*/ 831152 w 15083451"/>
              <a:gd name="connsiteY24" fmla="*/ 512636 h 963549"/>
              <a:gd name="connsiteX25" fmla="*/ 886968 w 15083451"/>
              <a:gd name="connsiteY25" fmla="*/ 513207 h 963549"/>
              <a:gd name="connsiteX26" fmla="*/ 979075 w 15083451"/>
              <a:gd name="connsiteY26" fmla="*/ 352139 h 963549"/>
              <a:gd name="connsiteX27" fmla="*/ 809530 w 15083451"/>
              <a:gd name="connsiteY27" fmla="*/ 352139 h 963549"/>
              <a:gd name="connsiteX28" fmla="*/ 761333 w 15083451"/>
              <a:gd name="connsiteY28" fmla="*/ 269367 h 963549"/>
              <a:gd name="connsiteX29" fmla="*/ 761429 w 15083451"/>
              <a:gd name="connsiteY29" fmla="*/ 189357 h 963549"/>
              <a:gd name="connsiteX30" fmla="*/ 681419 w 15083451"/>
              <a:gd name="connsiteY30" fmla="*/ 77438 h 963549"/>
              <a:gd name="connsiteX31" fmla="*/ 655511 w 15083451"/>
              <a:gd name="connsiteY31" fmla="*/ 77438 h 963549"/>
              <a:gd name="connsiteX32" fmla="*/ 487299 w 15083451"/>
              <a:gd name="connsiteY32" fmla="*/ 77438 h 963549"/>
              <a:gd name="connsiteX33" fmla="*/ 443293 w 15083451"/>
              <a:gd name="connsiteY33" fmla="*/ 153448 h 963549"/>
              <a:gd name="connsiteX34" fmla="*/ 316421 w 15083451"/>
              <a:gd name="connsiteY34" fmla="*/ 153448 h 963549"/>
              <a:gd name="connsiteX35" fmla="*/ 265843 w 15083451"/>
              <a:gd name="connsiteY35" fmla="*/ 67056 h 963549"/>
              <a:gd name="connsiteX36" fmla="*/ 159639 w 15083451"/>
              <a:gd name="connsiteY36" fmla="*/ 67056 h 963549"/>
              <a:gd name="connsiteX37" fmla="*/ 71914 w 15083451"/>
              <a:gd name="connsiteY37" fmla="*/ 225457 h 963549"/>
              <a:gd name="connsiteX38" fmla="*/ 71914 w 15083451"/>
              <a:gd name="connsiteY38" fmla="*/ 311753 h 963549"/>
              <a:gd name="connsiteX39" fmla="*/ 121825 w 15083451"/>
              <a:gd name="connsiteY39" fmla="*/ 393192 h 963549"/>
              <a:gd name="connsiteX40" fmla="*/ 160687 w 15083451"/>
              <a:gd name="connsiteY40" fmla="*/ 393192 h 963549"/>
              <a:gd name="connsiteX41" fmla="*/ 173260 w 15083451"/>
              <a:gd name="connsiteY41" fmla="*/ 370332 h 963549"/>
              <a:gd name="connsiteX42" fmla="*/ 416433 w 15083451"/>
              <a:gd name="connsiteY42" fmla="*/ 370332 h 963549"/>
              <a:gd name="connsiteX43" fmla="*/ 465392 w 15083451"/>
              <a:gd name="connsiteY43" fmla="*/ 455676 h 963549"/>
              <a:gd name="connsiteX44" fmla="*/ 465392 w 15083451"/>
              <a:gd name="connsiteY44" fmla="*/ 556736 h 963549"/>
              <a:gd name="connsiteX45" fmla="*/ 500443 w 15083451"/>
              <a:gd name="connsiteY45" fmla="*/ 616839 h 963549"/>
              <a:gd name="connsiteX46" fmla="*/ 500443 w 15083451"/>
              <a:gd name="connsiteY46" fmla="*/ 678275 h 963549"/>
              <a:gd name="connsiteX47" fmla="*/ 563309 w 15083451"/>
              <a:gd name="connsiteY47" fmla="*/ 783527 h 963549"/>
              <a:gd name="connsiteX48" fmla="*/ 563309 w 15083451"/>
              <a:gd name="connsiteY48" fmla="*/ 847344 h 963549"/>
              <a:gd name="connsiteX49" fmla="*/ 594932 w 15083451"/>
              <a:gd name="connsiteY49" fmla="*/ 888492 h 963549"/>
              <a:gd name="connsiteX50" fmla="*/ 609124 w 15083451"/>
              <a:gd name="connsiteY50" fmla="*/ 888492 h 963549"/>
              <a:gd name="connsiteX51" fmla="*/ 628460 w 15083451"/>
              <a:gd name="connsiteY51" fmla="*/ 856488 h 963549"/>
              <a:gd name="connsiteX52" fmla="*/ 628460 w 15083451"/>
              <a:gd name="connsiteY52" fmla="*/ 810292 h 963549"/>
              <a:gd name="connsiteX53" fmla="*/ 717899 w 15083451"/>
              <a:gd name="connsiteY53" fmla="*/ 667226 h 963549"/>
              <a:gd name="connsiteX54" fmla="*/ 718566 w 15083451"/>
              <a:gd name="connsiteY54" fmla="*/ 556165 h 963549"/>
              <a:gd name="connsiteX55" fmla="*/ 790956 w 15083451"/>
              <a:gd name="connsiteY55" fmla="*/ 448056 h 963549"/>
              <a:gd name="connsiteX56" fmla="*/ 843725 w 15083451"/>
              <a:gd name="connsiteY56" fmla="*/ 447770 h 963549"/>
              <a:gd name="connsiteX57" fmla="*/ 861060 w 15083451"/>
              <a:gd name="connsiteY57" fmla="*/ 419957 h 963549"/>
              <a:gd name="connsiteX58" fmla="*/ 767239 w 15083451"/>
              <a:gd name="connsiteY58" fmla="*/ 419957 h 963549"/>
              <a:gd name="connsiteX59" fmla="*/ 691229 w 15083451"/>
              <a:gd name="connsiteY59" fmla="*/ 291370 h 963549"/>
              <a:gd name="connsiteX60" fmla="*/ 689229 w 15083451"/>
              <a:gd name="connsiteY60" fmla="*/ 210407 h 963549"/>
              <a:gd name="connsiteX61" fmla="*/ 640271 w 15083451"/>
              <a:gd name="connsiteY61" fmla="*/ 144399 h 963549"/>
              <a:gd name="connsiteX62" fmla="*/ 532352 w 15083451"/>
              <a:gd name="connsiteY62" fmla="*/ 143447 h 963549"/>
              <a:gd name="connsiteX63" fmla="*/ 483108 w 15083451"/>
              <a:gd name="connsiteY63" fmla="*/ 228410 h 963549"/>
              <a:gd name="connsiteX64" fmla="*/ 271082 w 15083451"/>
              <a:gd name="connsiteY64" fmla="*/ 228410 h 963549"/>
              <a:gd name="connsiteX65" fmla="*/ 227743 w 15083451"/>
              <a:gd name="connsiteY65" fmla="*/ 156782 h 963549"/>
              <a:gd name="connsiteX66" fmla="*/ 200216 w 15083451"/>
              <a:gd name="connsiteY66" fmla="*/ 156782 h 963549"/>
              <a:gd name="connsiteX67" fmla="*/ 152019 w 15083451"/>
              <a:gd name="connsiteY67" fmla="*/ 248126 h 963549"/>
              <a:gd name="connsiteX68" fmla="*/ 150781 w 15083451"/>
              <a:gd name="connsiteY68" fmla="*/ 298990 h 963549"/>
              <a:gd name="connsiteX69" fmla="*/ 153638 w 15083451"/>
              <a:gd name="connsiteY69" fmla="*/ 303562 h 963549"/>
              <a:gd name="connsiteX70" fmla="*/ 157353 w 15083451"/>
              <a:gd name="connsiteY70" fmla="*/ 303467 h 963549"/>
              <a:gd name="connsiteX71" fmla="*/ 161068 w 15083451"/>
              <a:gd name="connsiteY71" fmla="*/ 298990 h 963549"/>
              <a:gd name="connsiteX72" fmla="*/ 525304 w 15083451"/>
              <a:gd name="connsiteY72" fmla="*/ 299180 h 963549"/>
              <a:gd name="connsiteX73" fmla="*/ 578739 w 15083451"/>
              <a:gd name="connsiteY73" fmla="*/ 213741 h 963549"/>
              <a:gd name="connsiteX74" fmla="*/ 607314 w 15083451"/>
              <a:gd name="connsiteY74" fmla="*/ 213741 h 963549"/>
              <a:gd name="connsiteX75" fmla="*/ 629317 w 15083451"/>
              <a:gd name="connsiteY75" fmla="*/ 242697 h 963549"/>
              <a:gd name="connsiteX76" fmla="*/ 629317 w 15083451"/>
              <a:gd name="connsiteY76" fmla="*/ 322326 h 963549"/>
              <a:gd name="connsiteX77" fmla="*/ 704945 w 15083451"/>
              <a:gd name="connsiteY77" fmla="*/ 449294 h 963549"/>
              <a:gd name="connsiteX78" fmla="*/ 648938 w 15083451"/>
              <a:gd name="connsiteY78" fmla="*/ 533400 h 963549"/>
              <a:gd name="connsiteX79" fmla="*/ 647510 w 15083451"/>
              <a:gd name="connsiteY79" fmla="*/ 650558 h 963549"/>
              <a:gd name="connsiteX80" fmla="*/ 603409 w 15083451"/>
              <a:gd name="connsiteY80" fmla="*/ 716852 h 963549"/>
              <a:gd name="connsiteX81" fmla="*/ 563404 w 15083451"/>
              <a:gd name="connsiteY81" fmla="*/ 649700 h 963549"/>
              <a:gd name="connsiteX82" fmla="*/ 563404 w 15083451"/>
              <a:gd name="connsiteY82" fmla="*/ 578644 h 963549"/>
              <a:gd name="connsiteX83" fmla="*/ 537496 w 15083451"/>
              <a:gd name="connsiteY83" fmla="*/ 536258 h 963549"/>
              <a:gd name="connsiteX84" fmla="*/ 537496 w 15083451"/>
              <a:gd name="connsiteY84" fmla="*/ 436721 h 963549"/>
              <a:gd name="connsiteX85" fmla="*/ 498824 w 15083451"/>
              <a:gd name="connsiteY85" fmla="*/ 368999 h 963549"/>
              <a:gd name="connsiteX86" fmla="*/ 581120 w 15083451"/>
              <a:gd name="connsiteY86" fmla="*/ 368999 h 963549"/>
              <a:gd name="connsiteX87" fmla="*/ 627698 w 15083451"/>
              <a:gd name="connsiteY87" fmla="*/ 443579 h 963549"/>
              <a:gd name="connsiteX88" fmla="*/ 592550 w 15083451"/>
              <a:gd name="connsiteY88" fmla="*/ 496729 h 9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15083451" h="963549">
                <a:moveTo>
                  <a:pt x="15083451" y="5158"/>
                </a:moveTo>
                <a:lnTo>
                  <a:pt x="439579" y="0"/>
                </a:lnTo>
                <a:lnTo>
                  <a:pt x="399955" y="72009"/>
                </a:lnTo>
                <a:lnTo>
                  <a:pt x="351377" y="72390"/>
                </a:lnTo>
                <a:lnTo>
                  <a:pt x="307467" y="0"/>
                </a:lnTo>
                <a:lnTo>
                  <a:pt x="118967" y="0"/>
                </a:lnTo>
                <a:lnTo>
                  <a:pt x="0" y="199739"/>
                </a:lnTo>
                <a:lnTo>
                  <a:pt x="0" y="342138"/>
                </a:lnTo>
                <a:lnTo>
                  <a:pt x="78296" y="463772"/>
                </a:lnTo>
                <a:lnTo>
                  <a:pt x="204216" y="463772"/>
                </a:lnTo>
                <a:lnTo>
                  <a:pt x="219647" y="437007"/>
                </a:lnTo>
                <a:lnTo>
                  <a:pt x="381000" y="437007"/>
                </a:lnTo>
                <a:lnTo>
                  <a:pt x="399288" y="469773"/>
                </a:lnTo>
                <a:lnTo>
                  <a:pt x="399288" y="568071"/>
                </a:lnTo>
                <a:lnTo>
                  <a:pt x="434245" y="628841"/>
                </a:lnTo>
                <a:cubicBezTo>
                  <a:pt x="434181" y="650336"/>
                  <a:pt x="434118" y="671830"/>
                  <a:pt x="434054" y="693325"/>
                </a:cubicBezTo>
                <a:lnTo>
                  <a:pt x="492728" y="800005"/>
                </a:lnTo>
                <a:lnTo>
                  <a:pt x="492728" y="884873"/>
                </a:lnTo>
                <a:lnTo>
                  <a:pt x="559118" y="962978"/>
                </a:lnTo>
                <a:lnTo>
                  <a:pt x="645414" y="963549"/>
                </a:lnTo>
                <a:lnTo>
                  <a:pt x="688372" y="892112"/>
                </a:lnTo>
                <a:lnTo>
                  <a:pt x="688372" y="837914"/>
                </a:lnTo>
                <a:lnTo>
                  <a:pt x="784479" y="687229"/>
                </a:lnTo>
                <a:lnTo>
                  <a:pt x="784479" y="586169"/>
                </a:lnTo>
                <a:lnTo>
                  <a:pt x="831152" y="512636"/>
                </a:lnTo>
                <a:lnTo>
                  <a:pt x="886968" y="513207"/>
                </a:lnTo>
                <a:lnTo>
                  <a:pt x="979075" y="352139"/>
                </a:lnTo>
                <a:lnTo>
                  <a:pt x="809530" y="352139"/>
                </a:lnTo>
                <a:lnTo>
                  <a:pt x="761333" y="269367"/>
                </a:lnTo>
                <a:lnTo>
                  <a:pt x="761429" y="189357"/>
                </a:lnTo>
                <a:lnTo>
                  <a:pt x="681419" y="77438"/>
                </a:lnTo>
                <a:lnTo>
                  <a:pt x="655511" y="77438"/>
                </a:lnTo>
                <a:lnTo>
                  <a:pt x="487299" y="77438"/>
                </a:lnTo>
                <a:lnTo>
                  <a:pt x="443293" y="153448"/>
                </a:lnTo>
                <a:lnTo>
                  <a:pt x="316421" y="153448"/>
                </a:lnTo>
                <a:lnTo>
                  <a:pt x="265843" y="67056"/>
                </a:lnTo>
                <a:lnTo>
                  <a:pt x="159639" y="67056"/>
                </a:lnTo>
                <a:lnTo>
                  <a:pt x="71914" y="225457"/>
                </a:lnTo>
                <a:lnTo>
                  <a:pt x="71914" y="311753"/>
                </a:lnTo>
                <a:lnTo>
                  <a:pt x="121825" y="393192"/>
                </a:lnTo>
                <a:lnTo>
                  <a:pt x="160687" y="393192"/>
                </a:lnTo>
                <a:lnTo>
                  <a:pt x="173260" y="370332"/>
                </a:lnTo>
                <a:lnTo>
                  <a:pt x="416433" y="370332"/>
                </a:lnTo>
                <a:lnTo>
                  <a:pt x="465392" y="455676"/>
                </a:lnTo>
                <a:lnTo>
                  <a:pt x="465392" y="556736"/>
                </a:lnTo>
                <a:lnTo>
                  <a:pt x="500443" y="616839"/>
                </a:lnTo>
                <a:lnTo>
                  <a:pt x="500443" y="678275"/>
                </a:lnTo>
                <a:lnTo>
                  <a:pt x="563309" y="783527"/>
                </a:lnTo>
                <a:lnTo>
                  <a:pt x="563309" y="847344"/>
                </a:lnTo>
                <a:lnTo>
                  <a:pt x="594932" y="888492"/>
                </a:lnTo>
                <a:lnTo>
                  <a:pt x="609124" y="888492"/>
                </a:lnTo>
                <a:lnTo>
                  <a:pt x="628460" y="856488"/>
                </a:lnTo>
                <a:lnTo>
                  <a:pt x="628460" y="810292"/>
                </a:lnTo>
                <a:lnTo>
                  <a:pt x="717899" y="667226"/>
                </a:lnTo>
                <a:cubicBezTo>
                  <a:pt x="718121" y="630206"/>
                  <a:pt x="718344" y="593185"/>
                  <a:pt x="718566" y="556165"/>
                </a:cubicBezTo>
                <a:lnTo>
                  <a:pt x="790956" y="448056"/>
                </a:lnTo>
                <a:lnTo>
                  <a:pt x="843725" y="447770"/>
                </a:lnTo>
                <a:lnTo>
                  <a:pt x="861060" y="419957"/>
                </a:lnTo>
                <a:lnTo>
                  <a:pt x="767239" y="419957"/>
                </a:lnTo>
                <a:lnTo>
                  <a:pt x="691229" y="291370"/>
                </a:lnTo>
                <a:cubicBezTo>
                  <a:pt x="690562" y="264382"/>
                  <a:pt x="689896" y="237395"/>
                  <a:pt x="689229" y="210407"/>
                </a:cubicBezTo>
                <a:lnTo>
                  <a:pt x="640271" y="144399"/>
                </a:lnTo>
                <a:lnTo>
                  <a:pt x="532352" y="143447"/>
                </a:lnTo>
                <a:lnTo>
                  <a:pt x="483108" y="228410"/>
                </a:lnTo>
                <a:lnTo>
                  <a:pt x="271082" y="228410"/>
                </a:lnTo>
                <a:lnTo>
                  <a:pt x="227743" y="156782"/>
                </a:lnTo>
                <a:lnTo>
                  <a:pt x="200216" y="156782"/>
                </a:lnTo>
                <a:lnTo>
                  <a:pt x="152019" y="248126"/>
                </a:lnTo>
                <a:cubicBezTo>
                  <a:pt x="151606" y="265081"/>
                  <a:pt x="151194" y="282035"/>
                  <a:pt x="150781" y="298990"/>
                </a:cubicBezTo>
                <a:lnTo>
                  <a:pt x="153638" y="303562"/>
                </a:lnTo>
                <a:lnTo>
                  <a:pt x="157353" y="303467"/>
                </a:lnTo>
                <a:lnTo>
                  <a:pt x="161068" y="298990"/>
                </a:lnTo>
                <a:lnTo>
                  <a:pt x="525304" y="299180"/>
                </a:lnTo>
                <a:lnTo>
                  <a:pt x="578739" y="213741"/>
                </a:lnTo>
                <a:lnTo>
                  <a:pt x="607314" y="213741"/>
                </a:lnTo>
                <a:lnTo>
                  <a:pt x="629317" y="242697"/>
                </a:lnTo>
                <a:lnTo>
                  <a:pt x="629317" y="322326"/>
                </a:lnTo>
                <a:lnTo>
                  <a:pt x="704945" y="449294"/>
                </a:lnTo>
                <a:lnTo>
                  <a:pt x="648938" y="533400"/>
                </a:lnTo>
                <a:lnTo>
                  <a:pt x="647510" y="650558"/>
                </a:lnTo>
                <a:lnTo>
                  <a:pt x="603409" y="716852"/>
                </a:lnTo>
                <a:lnTo>
                  <a:pt x="563404" y="649700"/>
                </a:lnTo>
                <a:lnTo>
                  <a:pt x="563404" y="578644"/>
                </a:lnTo>
                <a:lnTo>
                  <a:pt x="537496" y="536258"/>
                </a:lnTo>
                <a:lnTo>
                  <a:pt x="537496" y="436721"/>
                </a:lnTo>
                <a:lnTo>
                  <a:pt x="498824" y="368999"/>
                </a:lnTo>
                <a:lnTo>
                  <a:pt x="581120" y="368999"/>
                </a:lnTo>
                <a:lnTo>
                  <a:pt x="627698" y="443579"/>
                </a:lnTo>
                <a:lnTo>
                  <a:pt x="592550" y="496729"/>
                </a:lnTo>
              </a:path>
            </a:pathLst>
          </a:custGeom>
          <a:noFill/>
          <a:ln w="7144" cap="flat">
            <a:solidFill>
              <a:srgbClr val="E63C2B"/>
            </a:solidFill>
            <a:prstDash val="solid"/>
            <a:miter/>
          </a:ln>
        </p:spPr>
        <p:txBody>
          <a:bodyPr rtlCol="0" anchor="ctr"/>
          <a:lstStyle/>
          <a:p>
            <a:endParaRPr lang="en-US" sz="825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40B27B1-9BEE-85F0-5F8D-2FE6D5DDD203}"/>
              </a:ext>
            </a:extLst>
          </p:cNvPr>
          <p:cNvSpPr/>
          <p:nvPr userDrawn="1"/>
        </p:nvSpPr>
        <p:spPr>
          <a:xfrm>
            <a:off x="501343" y="857544"/>
            <a:ext cx="432049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A1B3B9E-600F-FC15-707B-431B65AD49C7}"/>
              </a:ext>
            </a:extLst>
          </p:cNvPr>
          <p:cNvSpPr/>
          <p:nvPr userDrawn="1"/>
        </p:nvSpPr>
        <p:spPr>
          <a:xfrm>
            <a:off x="380693" y="914694"/>
            <a:ext cx="432049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D1B1B81-36CD-9D78-49C8-71B7E7E54A6F}"/>
              </a:ext>
            </a:extLst>
          </p:cNvPr>
          <p:cNvSpPr/>
          <p:nvPr userDrawn="1"/>
        </p:nvSpPr>
        <p:spPr>
          <a:xfrm>
            <a:off x="69296" y="867069"/>
            <a:ext cx="362506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342909-EEA3-22BC-20EC-DD8352F176C2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9" y="260005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546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  <p:sldLayoutId id="2147483827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3" r:id="rId25"/>
    <p:sldLayoutId id="2147483834" r:id="rId26"/>
    <p:sldLayoutId id="2147483835" r:id="rId27"/>
    <p:sldLayoutId id="2147483836" r:id="rId28"/>
    <p:sldLayoutId id="2147483838" r:id="rId29"/>
  </p:sldLayoutIdLst>
  <p:hf hdr="0" ftr="0" dt="0"/>
  <p:txStyles>
    <p:titleStyle>
      <a:lvl1pPr algn="l" defTabSz="584318" rtl="0" eaLnBrk="1" latinLnBrk="0" hangingPunct="1">
        <a:spcBef>
          <a:spcPct val="0"/>
        </a:spcBef>
        <a:buNone/>
        <a:defRPr sz="2100" b="1" i="0" kern="1200" cap="none" spc="0" baseline="0">
          <a:solidFill>
            <a:schemeClr val="tx1"/>
          </a:solidFill>
          <a:latin typeface="Apex New Bold" panose="02010600040501010103" pitchFamily="2" charset="77"/>
          <a:ea typeface="Apex New Bold" panose="02010600040501010103" pitchFamily="2" charset="77"/>
          <a:cs typeface="+mj-cs"/>
        </a:defRPr>
      </a:lvl1pPr>
    </p:titleStyle>
    <p:bodyStyle>
      <a:lvl1pPr marL="0" indent="0" algn="l" defTabSz="584318" rtl="0" eaLnBrk="1" latinLnBrk="0" hangingPunct="1">
        <a:lnSpc>
          <a:spcPct val="110000"/>
        </a:lnSpc>
        <a:spcBef>
          <a:spcPts val="767"/>
        </a:spcBef>
        <a:spcAft>
          <a:spcPts val="256"/>
        </a:spcAft>
        <a:buFont typeface="Arial" pitchFamily="34" charset="0"/>
        <a:buNone/>
        <a:defRPr sz="15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171441" indent="-106516" algn="l" defTabSz="584318" rtl="0" eaLnBrk="1" latinLnBrk="0" hangingPunct="1">
        <a:lnSpc>
          <a:spcPct val="110000"/>
        </a:lnSpc>
        <a:spcBef>
          <a:spcPts val="129"/>
        </a:spcBef>
        <a:spcAft>
          <a:spcPts val="129"/>
        </a:spcAft>
        <a:buFont typeface="Arial" pitchFamily="34" charset="0"/>
        <a:buChar char="•"/>
        <a:defRPr sz="135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398675" indent="-120719" algn="l" defTabSz="584318" rtl="0" eaLnBrk="1" latinLnBrk="0" hangingPunct="1">
        <a:lnSpc>
          <a:spcPct val="110000"/>
        </a:lnSpc>
        <a:spcBef>
          <a:spcPts val="63"/>
        </a:spcBef>
        <a:spcAft>
          <a:spcPts val="129"/>
        </a:spcAft>
        <a:buFont typeface="Arial" pitchFamily="34" charset="0"/>
        <a:buChar char="›"/>
        <a:defRPr sz="12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573159" indent="-116661" algn="l" defTabSz="584318" rtl="0" eaLnBrk="1" latinLnBrk="0" hangingPunct="1">
        <a:lnSpc>
          <a:spcPct val="110000"/>
        </a:lnSpc>
        <a:spcBef>
          <a:spcPts val="63"/>
        </a:spcBef>
        <a:spcAft>
          <a:spcPts val="129"/>
        </a:spcAft>
        <a:buFont typeface="Arial" pitchFamily="34" charset="0"/>
        <a:buChar char="–"/>
        <a:defRPr sz="105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808509" indent="-117675" algn="l" defTabSz="584318" rtl="0" eaLnBrk="1" latinLnBrk="0" hangingPunct="1">
        <a:lnSpc>
          <a:spcPct val="110000"/>
        </a:lnSpc>
        <a:spcBef>
          <a:spcPts val="63"/>
        </a:spcBef>
        <a:spcAft>
          <a:spcPts val="129"/>
        </a:spcAft>
        <a:buFont typeface="Arial" pitchFamily="34" charset="0"/>
        <a:buChar char="»"/>
        <a:defRPr sz="105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1606874" indent="-146079" algn="l" defTabSz="584318" rtl="0" eaLnBrk="1" latinLnBrk="0" hangingPunct="1">
        <a:spcBef>
          <a:spcPct val="20000"/>
        </a:spcBef>
        <a:buFont typeface="Arial" pitchFamily="34" charset="0"/>
        <a:buChar char="•"/>
        <a:defRPr sz="1277" kern="1200">
          <a:solidFill>
            <a:schemeClr val="tx1"/>
          </a:solidFill>
          <a:latin typeface="+mn-lt"/>
          <a:ea typeface="+mn-ea"/>
          <a:cs typeface="+mn-cs"/>
        </a:defRPr>
      </a:lvl6pPr>
      <a:lvl7pPr marL="1899032" indent="-146079" algn="l" defTabSz="584318" rtl="0" eaLnBrk="1" latinLnBrk="0" hangingPunct="1">
        <a:spcBef>
          <a:spcPct val="20000"/>
        </a:spcBef>
        <a:buFont typeface="Arial" pitchFamily="34" charset="0"/>
        <a:buChar char="•"/>
        <a:defRPr sz="1277" kern="1200">
          <a:solidFill>
            <a:schemeClr val="tx1"/>
          </a:solidFill>
          <a:latin typeface="+mn-lt"/>
          <a:ea typeface="+mn-ea"/>
          <a:cs typeface="+mn-cs"/>
        </a:defRPr>
      </a:lvl7pPr>
      <a:lvl8pPr marL="2191191" indent="-146079" algn="l" defTabSz="584318" rtl="0" eaLnBrk="1" latinLnBrk="0" hangingPunct="1">
        <a:spcBef>
          <a:spcPct val="20000"/>
        </a:spcBef>
        <a:buFont typeface="Arial" pitchFamily="34" charset="0"/>
        <a:buChar char="•"/>
        <a:defRPr sz="1277" kern="1200">
          <a:solidFill>
            <a:schemeClr val="tx1"/>
          </a:solidFill>
          <a:latin typeface="+mn-lt"/>
          <a:ea typeface="+mn-ea"/>
          <a:cs typeface="+mn-cs"/>
        </a:defRPr>
      </a:lvl8pPr>
      <a:lvl9pPr marL="2483350" indent="-146079" algn="l" defTabSz="584318" rtl="0" eaLnBrk="1" latinLnBrk="0" hangingPunct="1">
        <a:spcBef>
          <a:spcPct val="20000"/>
        </a:spcBef>
        <a:buFont typeface="Arial" pitchFamily="34" charset="0"/>
        <a:buChar char="•"/>
        <a:defRPr sz="12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1pPr>
      <a:lvl2pPr marL="292159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2pPr>
      <a:lvl3pPr marL="584318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3pPr>
      <a:lvl4pPr marL="876476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4pPr>
      <a:lvl5pPr marL="1168635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5pPr>
      <a:lvl6pPr marL="1460794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6pPr>
      <a:lvl7pPr marL="1752953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7pPr>
      <a:lvl8pPr marL="2045111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8pPr>
      <a:lvl9pPr marL="2337271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>
          <p15:clr>
            <a:srgbClr val="F26B43"/>
          </p15:clr>
        </p15:guide>
        <p15:guide id="4" orient="horz" pos="4156">
          <p15:clr>
            <a:srgbClr val="F26B43"/>
          </p15:clr>
        </p15:guide>
        <p15:guide id="5" orient="horz" pos="2432">
          <p15:clr>
            <a:srgbClr val="F26B43"/>
          </p15:clr>
        </p15:guide>
        <p15:guide id="7" orient="horz" pos="9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507066645"/>
              </p:ext>
            </p:extLst>
          </p:nvPr>
        </p:nvGraphicFramePr>
        <p:xfrm>
          <a:off x="2120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21" imgH="420" progId="TCLayout.ActiveDocument.1">
                  <p:embed/>
                </p:oleObj>
              </mc:Choice>
              <mc:Fallback>
                <p:oleObj name="think-cell Slide" r:id="rId32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20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4">
            <a:extLst>
              <a:ext uri="{FF2B5EF4-FFF2-40B4-BE49-F238E27FC236}">
                <a16:creationId xmlns:a16="http://schemas.microsoft.com/office/drawing/2014/main" id="{A3145E3B-53D8-24D2-49B8-FC9BEF07CE71}"/>
              </a:ext>
            </a:extLst>
          </p:cNvPr>
          <p:cNvSpPr/>
          <p:nvPr userDrawn="1"/>
        </p:nvSpPr>
        <p:spPr>
          <a:xfrm>
            <a:off x="11521843" y="6474758"/>
            <a:ext cx="670159" cy="383241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E2766E-0E28-428C-7713-F6A0FCA419FF}"/>
              </a:ext>
            </a:extLst>
          </p:cNvPr>
          <p:cNvSpPr/>
          <p:nvPr userDrawn="1"/>
        </p:nvSpPr>
        <p:spPr>
          <a:xfrm>
            <a:off x="11588594" y="6534856"/>
            <a:ext cx="520704" cy="214315"/>
          </a:xfrm>
          <a:prstGeom prst="rect">
            <a:avLst/>
          </a:prstGeom>
        </p:spPr>
        <p:txBody>
          <a:bodyPr vert="horz" lIns="0" tIns="0" rIns="0" bIns="34507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675" b="1" smtClean="0">
                <a:solidFill>
                  <a:schemeClr val="bg1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575" b="1">
              <a:solidFill>
                <a:schemeClr val="bg1"/>
              </a:solidFill>
              <a:latin typeface="Tahoma"/>
            </a:endParaRPr>
          </a:p>
        </p:txBody>
      </p:sp>
      <p:sp>
        <p:nvSpPr>
          <p:cNvPr id="7" name="Graphic 64">
            <a:extLst>
              <a:ext uri="{FF2B5EF4-FFF2-40B4-BE49-F238E27FC236}">
                <a16:creationId xmlns:a16="http://schemas.microsoft.com/office/drawing/2014/main" id="{238245C2-535F-687F-738F-83FEEB859035}"/>
              </a:ext>
            </a:extLst>
          </p:cNvPr>
          <p:cNvSpPr/>
          <p:nvPr userDrawn="1"/>
        </p:nvSpPr>
        <p:spPr>
          <a:xfrm>
            <a:off x="209512" y="825399"/>
            <a:ext cx="10134961" cy="647434"/>
          </a:xfrm>
          <a:custGeom>
            <a:avLst/>
            <a:gdLst>
              <a:gd name="connsiteX0" fmla="*/ 7482459 w 7482459"/>
              <a:gd name="connsiteY0" fmla="*/ 0 h 963549"/>
              <a:gd name="connsiteX1" fmla="*/ 439579 w 7482459"/>
              <a:gd name="connsiteY1" fmla="*/ 0 h 963549"/>
              <a:gd name="connsiteX2" fmla="*/ 399955 w 7482459"/>
              <a:gd name="connsiteY2" fmla="*/ 72009 h 963549"/>
              <a:gd name="connsiteX3" fmla="*/ 351377 w 7482459"/>
              <a:gd name="connsiteY3" fmla="*/ 72390 h 963549"/>
              <a:gd name="connsiteX4" fmla="*/ 307467 w 7482459"/>
              <a:gd name="connsiteY4" fmla="*/ 0 h 963549"/>
              <a:gd name="connsiteX5" fmla="*/ 118967 w 7482459"/>
              <a:gd name="connsiteY5" fmla="*/ 0 h 963549"/>
              <a:gd name="connsiteX6" fmla="*/ 0 w 7482459"/>
              <a:gd name="connsiteY6" fmla="*/ 199739 h 963549"/>
              <a:gd name="connsiteX7" fmla="*/ 0 w 7482459"/>
              <a:gd name="connsiteY7" fmla="*/ 342138 h 963549"/>
              <a:gd name="connsiteX8" fmla="*/ 78296 w 7482459"/>
              <a:gd name="connsiteY8" fmla="*/ 463772 h 963549"/>
              <a:gd name="connsiteX9" fmla="*/ 204216 w 7482459"/>
              <a:gd name="connsiteY9" fmla="*/ 463772 h 963549"/>
              <a:gd name="connsiteX10" fmla="*/ 219647 w 7482459"/>
              <a:gd name="connsiteY10" fmla="*/ 437007 h 963549"/>
              <a:gd name="connsiteX11" fmla="*/ 381000 w 7482459"/>
              <a:gd name="connsiteY11" fmla="*/ 437007 h 963549"/>
              <a:gd name="connsiteX12" fmla="*/ 399288 w 7482459"/>
              <a:gd name="connsiteY12" fmla="*/ 469773 h 963549"/>
              <a:gd name="connsiteX13" fmla="*/ 399288 w 7482459"/>
              <a:gd name="connsiteY13" fmla="*/ 568071 h 963549"/>
              <a:gd name="connsiteX14" fmla="*/ 434245 w 7482459"/>
              <a:gd name="connsiteY14" fmla="*/ 628841 h 963549"/>
              <a:gd name="connsiteX15" fmla="*/ 434054 w 7482459"/>
              <a:gd name="connsiteY15" fmla="*/ 693325 h 963549"/>
              <a:gd name="connsiteX16" fmla="*/ 492728 w 7482459"/>
              <a:gd name="connsiteY16" fmla="*/ 800005 h 963549"/>
              <a:gd name="connsiteX17" fmla="*/ 492728 w 7482459"/>
              <a:gd name="connsiteY17" fmla="*/ 884873 h 963549"/>
              <a:gd name="connsiteX18" fmla="*/ 559118 w 7482459"/>
              <a:gd name="connsiteY18" fmla="*/ 962978 h 963549"/>
              <a:gd name="connsiteX19" fmla="*/ 645414 w 7482459"/>
              <a:gd name="connsiteY19" fmla="*/ 963549 h 963549"/>
              <a:gd name="connsiteX20" fmla="*/ 688372 w 7482459"/>
              <a:gd name="connsiteY20" fmla="*/ 892112 h 963549"/>
              <a:gd name="connsiteX21" fmla="*/ 688372 w 7482459"/>
              <a:gd name="connsiteY21" fmla="*/ 837914 h 963549"/>
              <a:gd name="connsiteX22" fmla="*/ 784479 w 7482459"/>
              <a:gd name="connsiteY22" fmla="*/ 687229 h 963549"/>
              <a:gd name="connsiteX23" fmla="*/ 784479 w 7482459"/>
              <a:gd name="connsiteY23" fmla="*/ 586169 h 963549"/>
              <a:gd name="connsiteX24" fmla="*/ 831152 w 7482459"/>
              <a:gd name="connsiteY24" fmla="*/ 512636 h 963549"/>
              <a:gd name="connsiteX25" fmla="*/ 886968 w 7482459"/>
              <a:gd name="connsiteY25" fmla="*/ 513207 h 963549"/>
              <a:gd name="connsiteX26" fmla="*/ 979075 w 7482459"/>
              <a:gd name="connsiteY26" fmla="*/ 352139 h 963549"/>
              <a:gd name="connsiteX27" fmla="*/ 809530 w 7482459"/>
              <a:gd name="connsiteY27" fmla="*/ 352139 h 963549"/>
              <a:gd name="connsiteX28" fmla="*/ 761333 w 7482459"/>
              <a:gd name="connsiteY28" fmla="*/ 269367 h 963549"/>
              <a:gd name="connsiteX29" fmla="*/ 761429 w 7482459"/>
              <a:gd name="connsiteY29" fmla="*/ 189357 h 963549"/>
              <a:gd name="connsiteX30" fmla="*/ 681419 w 7482459"/>
              <a:gd name="connsiteY30" fmla="*/ 77438 h 963549"/>
              <a:gd name="connsiteX31" fmla="*/ 655511 w 7482459"/>
              <a:gd name="connsiteY31" fmla="*/ 77438 h 963549"/>
              <a:gd name="connsiteX32" fmla="*/ 487299 w 7482459"/>
              <a:gd name="connsiteY32" fmla="*/ 77438 h 963549"/>
              <a:gd name="connsiteX33" fmla="*/ 443293 w 7482459"/>
              <a:gd name="connsiteY33" fmla="*/ 153448 h 963549"/>
              <a:gd name="connsiteX34" fmla="*/ 316421 w 7482459"/>
              <a:gd name="connsiteY34" fmla="*/ 153448 h 963549"/>
              <a:gd name="connsiteX35" fmla="*/ 265843 w 7482459"/>
              <a:gd name="connsiteY35" fmla="*/ 67056 h 963549"/>
              <a:gd name="connsiteX36" fmla="*/ 159639 w 7482459"/>
              <a:gd name="connsiteY36" fmla="*/ 67056 h 963549"/>
              <a:gd name="connsiteX37" fmla="*/ 71914 w 7482459"/>
              <a:gd name="connsiteY37" fmla="*/ 225457 h 963549"/>
              <a:gd name="connsiteX38" fmla="*/ 71914 w 7482459"/>
              <a:gd name="connsiteY38" fmla="*/ 311753 h 963549"/>
              <a:gd name="connsiteX39" fmla="*/ 121825 w 7482459"/>
              <a:gd name="connsiteY39" fmla="*/ 393192 h 963549"/>
              <a:gd name="connsiteX40" fmla="*/ 160687 w 7482459"/>
              <a:gd name="connsiteY40" fmla="*/ 393192 h 963549"/>
              <a:gd name="connsiteX41" fmla="*/ 173260 w 7482459"/>
              <a:gd name="connsiteY41" fmla="*/ 370332 h 963549"/>
              <a:gd name="connsiteX42" fmla="*/ 416433 w 7482459"/>
              <a:gd name="connsiteY42" fmla="*/ 370332 h 963549"/>
              <a:gd name="connsiteX43" fmla="*/ 465392 w 7482459"/>
              <a:gd name="connsiteY43" fmla="*/ 455676 h 963549"/>
              <a:gd name="connsiteX44" fmla="*/ 465392 w 7482459"/>
              <a:gd name="connsiteY44" fmla="*/ 556736 h 963549"/>
              <a:gd name="connsiteX45" fmla="*/ 500443 w 7482459"/>
              <a:gd name="connsiteY45" fmla="*/ 616839 h 963549"/>
              <a:gd name="connsiteX46" fmla="*/ 500443 w 7482459"/>
              <a:gd name="connsiteY46" fmla="*/ 678275 h 963549"/>
              <a:gd name="connsiteX47" fmla="*/ 563309 w 7482459"/>
              <a:gd name="connsiteY47" fmla="*/ 783527 h 963549"/>
              <a:gd name="connsiteX48" fmla="*/ 563309 w 7482459"/>
              <a:gd name="connsiteY48" fmla="*/ 847344 h 963549"/>
              <a:gd name="connsiteX49" fmla="*/ 594932 w 7482459"/>
              <a:gd name="connsiteY49" fmla="*/ 888492 h 963549"/>
              <a:gd name="connsiteX50" fmla="*/ 609124 w 7482459"/>
              <a:gd name="connsiteY50" fmla="*/ 888492 h 963549"/>
              <a:gd name="connsiteX51" fmla="*/ 628460 w 7482459"/>
              <a:gd name="connsiteY51" fmla="*/ 856488 h 963549"/>
              <a:gd name="connsiteX52" fmla="*/ 628460 w 7482459"/>
              <a:gd name="connsiteY52" fmla="*/ 810292 h 963549"/>
              <a:gd name="connsiteX53" fmla="*/ 717899 w 7482459"/>
              <a:gd name="connsiteY53" fmla="*/ 667226 h 963549"/>
              <a:gd name="connsiteX54" fmla="*/ 718566 w 7482459"/>
              <a:gd name="connsiteY54" fmla="*/ 556165 h 963549"/>
              <a:gd name="connsiteX55" fmla="*/ 790956 w 7482459"/>
              <a:gd name="connsiteY55" fmla="*/ 448056 h 963549"/>
              <a:gd name="connsiteX56" fmla="*/ 843725 w 7482459"/>
              <a:gd name="connsiteY56" fmla="*/ 447770 h 963549"/>
              <a:gd name="connsiteX57" fmla="*/ 861060 w 7482459"/>
              <a:gd name="connsiteY57" fmla="*/ 419957 h 963549"/>
              <a:gd name="connsiteX58" fmla="*/ 767239 w 7482459"/>
              <a:gd name="connsiteY58" fmla="*/ 419957 h 963549"/>
              <a:gd name="connsiteX59" fmla="*/ 691229 w 7482459"/>
              <a:gd name="connsiteY59" fmla="*/ 291370 h 963549"/>
              <a:gd name="connsiteX60" fmla="*/ 689229 w 7482459"/>
              <a:gd name="connsiteY60" fmla="*/ 210407 h 963549"/>
              <a:gd name="connsiteX61" fmla="*/ 640271 w 7482459"/>
              <a:gd name="connsiteY61" fmla="*/ 144399 h 963549"/>
              <a:gd name="connsiteX62" fmla="*/ 532352 w 7482459"/>
              <a:gd name="connsiteY62" fmla="*/ 143447 h 963549"/>
              <a:gd name="connsiteX63" fmla="*/ 483108 w 7482459"/>
              <a:gd name="connsiteY63" fmla="*/ 228410 h 963549"/>
              <a:gd name="connsiteX64" fmla="*/ 271082 w 7482459"/>
              <a:gd name="connsiteY64" fmla="*/ 228410 h 963549"/>
              <a:gd name="connsiteX65" fmla="*/ 227743 w 7482459"/>
              <a:gd name="connsiteY65" fmla="*/ 156782 h 963549"/>
              <a:gd name="connsiteX66" fmla="*/ 200216 w 7482459"/>
              <a:gd name="connsiteY66" fmla="*/ 156782 h 963549"/>
              <a:gd name="connsiteX67" fmla="*/ 152019 w 7482459"/>
              <a:gd name="connsiteY67" fmla="*/ 248126 h 963549"/>
              <a:gd name="connsiteX68" fmla="*/ 150781 w 7482459"/>
              <a:gd name="connsiteY68" fmla="*/ 298990 h 963549"/>
              <a:gd name="connsiteX69" fmla="*/ 153638 w 7482459"/>
              <a:gd name="connsiteY69" fmla="*/ 303562 h 963549"/>
              <a:gd name="connsiteX70" fmla="*/ 157353 w 7482459"/>
              <a:gd name="connsiteY70" fmla="*/ 303467 h 963549"/>
              <a:gd name="connsiteX71" fmla="*/ 161068 w 7482459"/>
              <a:gd name="connsiteY71" fmla="*/ 298990 h 963549"/>
              <a:gd name="connsiteX72" fmla="*/ 525304 w 7482459"/>
              <a:gd name="connsiteY72" fmla="*/ 299180 h 963549"/>
              <a:gd name="connsiteX73" fmla="*/ 578739 w 7482459"/>
              <a:gd name="connsiteY73" fmla="*/ 213741 h 963549"/>
              <a:gd name="connsiteX74" fmla="*/ 607314 w 7482459"/>
              <a:gd name="connsiteY74" fmla="*/ 213741 h 963549"/>
              <a:gd name="connsiteX75" fmla="*/ 629317 w 7482459"/>
              <a:gd name="connsiteY75" fmla="*/ 242697 h 963549"/>
              <a:gd name="connsiteX76" fmla="*/ 629317 w 7482459"/>
              <a:gd name="connsiteY76" fmla="*/ 322326 h 963549"/>
              <a:gd name="connsiteX77" fmla="*/ 704945 w 7482459"/>
              <a:gd name="connsiteY77" fmla="*/ 449294 h 963549"/>
              <a:gd name="connsiteX78" fmla="*/ 648938 w 7482459"/>
              <a:gd name="connsiteY78" fmla="*/ 533400 h 963549"/>
              <a:gd name="connsiteX79" fmla="*/ 647510 w 7482459"/>
              <a:gd name="connsiteY79" fmla="*/ 650558 h 963549"/>
              <a:gd name="connsiteX80" fmla="*/ 603409 w 7482459"/>
              <a:gd name="connsiteY80" fmla="*/ 716852 h 963549"/>
              <a:gd name="connsiteX81" fmla="*/ 563404 w 7482459"/>
              <a:gd name="connsiteY81" fmla="*/ 649700 h 963549"/>
              <a:gd name="connsiteX82" fmla="*/ 563404 w 7482459"/>
              <a:gd name="connsiteY82" fmla="*/ 578644 h 963549"/>
              <a:gd name="connsiteX83" fmla="*/ 537496 w 7482459"/>
              <a:gd name="connsiteY83" fmla="*/ 536258 h 963549"/>
              <a:gd name="connsiteX84" fmla="*/ 537496 w 7482459"/>
              <a:gd name="connsiteY84" fmla="*/ 436721 h 963549"/>
              <a:gd name="connsiteX85" fmla="*/ 498824 w 7482459"/>
              <a:gd name="connsiteY85" fmla="*/ 368999 h 963549"/>
              <a:gd name="connsiteX86" fmla="*/ 581120 w 7482459"/>
              <a:gd name="connsiteY86" fmla="*/ 368999 h 963549"/>
              <a:gd name="connsiteX87" fmla="*/ 627698 w 7482459"/>
              <a:gd name="connsiteY87" fmla="*/ 443579 h 963549"/>
              <a:gd name="connsiteX88" fmla="*/ 592550 w 7482459"/>
              <a:gd name="connsiteY88" fmla="*/ 496729 h 963549"/>
              <a:gd name="connsiteX0" fmla="*/ 8451880 w 8451880"/>
              <a:gd name="connsiteY0" fmla="*/ 0 h 963549"/>
              <a:gd name="connsiteX1" fmla="*/ 439579 w 8451880"/>
              <a:gd name="connsiteY1" fmla="*/ 0 h 963549"/>
              <a:gd name="connsiteX2" fmla="*/ 399955 w 8451880"/>
              <a:gd name="connsiteY2" fmla="*/ 72009 h 963549"/>
              <a:gd name="connsiteX3" fmla="*/ 351377 w 8451880"/>
              <a:gd name="connsiteY3" fmla="*/ 72390 h 963549"/>
              <a:gd name="connsiteX4" fmla="*/ 307467 w 8451880"/>
              <a:gd name="connsiteY4" fmla="*/ 0 h 963549"/>
              <a:gd name="connsiteX5" fmla="*/ 118967 w 8451880"/>
              <a:gd name="connsiteY5" fmla="*/ 0 h 963549"/>
              <a:gd name="connsiteX6" fmla="*/ 0 w 8451880"/>
              <a:gd name="connsiteY6" fmla="*/ 199739 h 963549"/>
              <a:gd name="connsiteX7" fmla="*/ 0 w 8451880"/>
              <a:gd name="connsiteY7" fmla="*/ 342138 h 963549"/>
              <a:gd name="connsiteX8" fmla="*/ 78296 w 8451880"/>
              <a:gd name="connsiteY8" fmla="*/ 463772 h 963549"/>
              <a:gd name="connsiteX9" fmla="*/ 204216 w 8451880"/>
              <a:gd name="connsiteY9" fmla="*/ 463772 h 963549"/>
              <a:gd name="connsiteX10" fmla="*/ 219647 w 8451880"/>
              <a:gd name="connsiteY10" fmla="*/ 437007 h 963549"/>
              <a:gd name="connsiteX11" fmla="*/ 381000 w 8451880"/>
              <a:gd name="connsiteY11" fmla="*/ 437007 h 963549"/>
              <a:gd name="connsiteX12" fmla="*/ 399288 w 8451880"/>
              <a:gd name="connsiteY12" fmla="*/ 469773 h 963549"/>
              <a:gd name="connsiteX13" fmla="*/ 399288 w 8451880"/>
              <a:gd name="connsiteY13" fmla="*/ 568071 h 963549"/>
              <a:gd name="connsiteX14" fmla="*/ 434245 w 8451880"/>
              <a:gd name="connsiteY14" fmla="*/ 628841 h 963549"/>
              <a:gd name="connsiteX15" fmla="*/ 434054 w 8451880"/>
              <a:gd name="connsiteY15" fmla="*/ 693325 h 963549"/>
              <a:gd name="connsiteX16" fmla="*/ 492728 w 8451880"/>
              <a:gd name="connsiteY16" fmla="*/ 800005 h 963549"/>
              <a:gd name="connsiteX17" fmla="*/ 492728 w 8451880"/>
              <a:gd name="connsiteY17" fmla="*/ 884873 h 963549"/>
              <a:gd name="connsiteX18" fmla="*/ 559118 w 8451880"/>
              <a:gd name="connsiteY18" fmla="*/ 962978 h 963549"/>
              <a:gd name="connsiteX19" fmla="*/ 645414 w 8451880"/>
              <a:gd name="connsiteY19" fmla="*/ 963549 h 963549"/>
              <a:gd name="connsiteX20" fmla="*/ 688372 w 8451880"/>
              <a:gd name="connsiteY20" fmla="*/ 892112 h 963549"/>
              <a:gd name="connsiteX21" fmla="*/ 688372 w 8451880"/>
              <a:gd name="connsiteY21" fmla="*/ 837914 h 963549"/>
              <a:gd name="connsiteX22" fmla="*/ 784479 w 8451880"/>
              <a:gd name="connsiteY22" fmla="*/ 687229 h 963549"/>
              <a:gd name="connsiteX23" fmla="*/ 784479 w 8451880"/>
              <a:gd name="connsiteY23" fmla="*/ 586169 h 963549"/>
              <a:gd name="connsiteX24" fmla="*/ 831152 w 8451880"/>
              <a:gd name="connsiteY24" fmla="*/ 512636 h 963549"/>
              <a:gd name="connsiteX25" fmla="*/ 886968 w 8451880"/>
              <a:gd name="connsiteY25" fmla="*/ 513207 h 963549"/>
              <a:gd name="connsiteX26" fmla="*/ 979075 w 8451880"/>
              <a:gd name="connsiteY26" fmla="*/ 352139 h 963549"/>
              <a:gd name="connsiteX27" fmla="*/ 809530 w 8451880"/>
              <a:gd name="connsiteY27" fmla="*/ 352139 h 963549"/>
              <a:gd name="connsiteX28" fmla="*/ 761333 w 8451880"/>
              <a:gd name="connsiteY28" fmla="*/ 269367 h 963549"/>
              <a:gd name="connsiteX29" fmla="*/ 761429 w 8451880"/>
              <a:gd name="connsiteY29" fmla="*/ 189357 h 963549"/>
              <a:gd name="connsiteX30" fmla="*/ 681419 w 8451880"/>
              <a:gd name="connsiteY30" fmla="*/ 77438 h 963549"/>
              <a:gd name="connsiteX31" fmla="*/ 655511 w 8451880"/>
              <a:gd name="connsiteY31" fmla="*/ 77438 h 963549"/>
              <a:gd name="connsiteX32" fmla="*/ 487299 w 8451880"/>
              <a:gd name="connsiteY32" fmla="*/ 77438 h 963549"/>
              <a:gd name="connsiteX33" fmla="*/ 443293 w 8451880"/>
              <a:gd name="connsiteY33" fmla="*/ 153448 h 963549"/>
              <a:gd name="connsiteX34" fmla="*/ 316421 w 8451880"/>
              <a:gd name="connsiteY34" fmla="*/ 153448 h 963549"/>
              <a:gd name="connsiteX35" fmla="*/ 265843 w 8451880"/>
              <a:gd name="connsiteY35" fmla="*/ 67056 h 963549"/>
              <a:gd name="connsiteX36" fmla="*/ 159639 w 8451880"/>
              <a:gd name="connsiteY36" fmla="*/ 67056 h 963549"/>
              <a:gd name="connsiteX37" fmla="*/ 71914 w 8451880"/>
              <a:gd name="connsiteY37" fmla="*/ 225457 h 963549"/>
              <a:gd name="connsiteX38" fmla="*/ 71914 w 8451880"/>
              <a:gd name="connsiteY38" fmla="*/ 311753 h 963549"/>
              <a:gd name="connsiteX39" fmla="*/ 121825 w 8451880"/>
              <a:gd name="connsiteY39" fmla="*/ 393192 h 963549"/>
              <a:gd name="connsiteX40" fmla="*/ 160687 w 8451880"/>
              <a:gd name="connsiteY40" fmla="*/ 393192 h 963549"/>
              <a:gd name="connsiteX41" fmla="*/ 173260 w 8451880"/>
              <a:gd name="connsiteY41" fmla="*/ 370332 h 963549"/>
              <a:gd name="connsiteX42" fmla="*/ 416433 w 8451880"/>
              <a:gd name="connsiteY42" fmla="*/ 370332 h 963549"/>
              <a:gd name="connsiteX43" fmla="*/ 465392 w 8451880"/>
              <a:gd name="connsiteY43" fmla="*/ 455676 h 963549"/>
              <a:gd name="connsiteX44" fmla="*/ 465392 w 8451880"/>
              <a:gd name="connsiteY44" fmla="*/ 556736 h 963549"/>
              <a:gd name="connsiteX45" fmla="*/ 500443 w 8451880"/>
              <a:gd name="connsiteY45" fmla="*/ 616839 h 963549"/>
              <a:gd name="connsiteX46" fmla="*/ 500443 w 8451880"/>
              <a:gd name="connsiteY46" fmla="*/ 678275 h 963549"/>
              <a:gd name="connsiteX47" fmla="*/ 563309 w 8451880"/>
              <a:gd name="connsiteY47" fmla="*/ 783527 h 963549"/>
              <a:gd name="connsiteX48" fmla="*/ 563309 w 8451880"/>
              <a:gd name="connsiteY48" fmla="*/ 847344 h 963549"/>
              <a:gd name="connsiteX49" fmla="*/ 594932 w 8451880"/>
              <a:gd name="connsiteY49" fmla="*/ 888492 h 963549"/>
              <a:gd name="connsiteX50" fmla="*/ 609124 w 8451880"/>
              <a:gd name="connsiteY50" fmla="*/ 888492 h 963549"/>
              <a:gd name="connsiteX51" fmla="*/ 628460 w 8451880"/>
              <a:gd name="connsiteY51" fmla="*/ 856488 h 963549"/>
              <a:gd name="connsiteX52" fmla="*/ 628460 w 8451880"/>
              <a:gd name="connsiteY52" fmla="*/ 810292 h 963549"/>
              <a:gd name="connsiteX53" fmla="*/ 717899 w 8451880"/>
              <a:gd name="connsiteY53" fmla="*/ 667226 h 963549"/>
              <a:gd name="connsiteX54" fmla="*/ 718566 w 8451880"/>
              <a:gd name="connsiteY54" fmla="*/ 556165 h 963549"/>
              <a:gd name="connsiteX55" fmla="*/ 790956 w 8451880"/>
              <a:gd name="connsiteY55" fmla="*/ 448056 h 963549"/>
              <a:gd name="connsiteX56" fmla="*/ 843725 w 8451880"/>
              <a:gd name="connsiteY56" fmla="*/ 447770 h 963549"/>
              <a:gd name="connsiteX57" fmla="*/ 861060 w 8451880"/>
              <a:gd name="connsiteY57" fmla="*/ 419957 h 963549"/>
              <a:gd name="connsiteX58" fmla="*/ 767239 w 8451880"/>
              <a:gd name="connsiteY58" fmla="*/ 419957 h 963549"/>
              <a:gd name="connsiteX59" fmla="*/ 691229 w 8451880"/>
              <a:gd name="connsiteY59" fmla="*/ 291370 h 963549"/>
              <a:gd name="connsiteX60" fmla="*/ 689229 w 8451880"/>
              <a:gd name="connsiteY60" fmla="*/ 210407 h 963549"/>
              <a:gd name="connsiteX61" fmla="*/ 640271 w 8451880"/>
              <a:gd name="connsiteY61" fmla="*/ 144399 h 963549"/>
              <a:gd name="connsiteX62" fmla="*/ 532352 w 8451880"/>
              <a:gd name="connsiteY62" fmla="*/ 143447 h 963549"/>
              <a:gd name="connsiteX63" fmla="*/ 483108 w 8451880"/>
              <a:gd name="connsiteY63" fmla="*/ 228410 h 963549"/>
              <a:gd name="connsiteX64" fmla="*/ 271082 w 8451880"/>
              <a:gd name="connsiteY64" fmla="*/ 228410 h 963549"/>
              <a:gd name="connsiteX65" fmla="*/ 227743 w 8451880"/>
              <a:gd name="connsiteY65" fmla="*/ 156782 h 963549"/>
              <a:gd name="connsiteX66" fmla="*/ 200216 w 8451880"/>
              <a:gd name="connsiteY66" fmla="*/ 156782 h 963549"/>
              <a:gd name="connsiteX67" fmla="*/ 152019 w 8451880"/>
              <a:gd name="connsiteY67" fmla="*/ 248126 h 963549"/>
              <a:gd name="connsiteX68" fmla="*/ 150781 w 8451880"/>
              <a:gd name="connsiteY68" fmla="*/ 298990 h 963549"/>
              <a:gd name="connsiteX69" fmla="*/ 153638 w 8451880"/>
              <a:gd name="connsiteY69" fmla="*/ 303562 h 963549"/>
              <a:gd name="connsiteX70" fmla="*/ 157353 w 8451880"/>
              <a:gd name="connsiteY70" fmla="*/ 303467 h 963549"/>
              <a:gd name="connsiteX71" fmla="*/ 161068 w 8451880"/>
              <a:gd name="connsiteY71" fmla="*/ 298990 h 963549"/>
              <a:gd name="connsiteX72" fmla="*/ 525304 w 8451880"/>
              <a:gd name="connsiteY72" fmla="*/ 299180 h 963549"/>
              <a:gd name="connsiteX73" fmla="*/ 578739 w 8451880"/>
              <a:gd name="connsiteY73" fmla="*/ 213741 h 963549"/>
              <a:gd name="connsiteX74" fmla="*/ 607314 w 8451880"/>
              <a:gd name="connsiteY74" fmla="*/ 213741 h 963549"/>
              <a:gd name="connsiteX75" fmla="*/ 629317 w 8451880"/>
              <a:gd name="connsiteY75" fmla="*/ 242697 h 963549"/>
              <a:gd name="connsiteX76" fmla="*/ 629317 w 8451880"/>
              <a:gd name="connsiteY76" fmla="*/ 322326 h 963549"/>
              <a:gd name="connsiteX77" fmla="*/ 704945 w 8451880"/>
              <a:gd name="connsiteY77" fmla="*/ 449294 h 963549"/>
              <a:gd name="connsiteX78" fmla="*/ 648938 w 8451880"/>
              <a:gd name="connsiteY78" fmla="*/ 533400 h 963549"/>
              <a:gd name="connsiteX79" fmla="*/ 647510 w 8451880"/>
              <a:gd name="connsiteY79" fmla="*/ 650558 h 963549"/>
              <a:gd name="connsiteX80" fmla="*/ 603409 w 8451880"/>
              <a:gd name="connsiteY80" fmla="*/ 716852 h 963549"/>
              <a:gd name="connsiteX81" fmla="*/ 563404 w 8451880"/>
              <a:gd name="connsiteY81" fmla="*/ 649700 h 963549"/>
              <a:gd name="connsiteX82" fmla="*/ 563404 w 8451880"/>
              <a:gd name="connsiteY82" fmla="*/ 578644 h 963549"/>
              <a:gd name="connsiteX83" fmla="*/ 537496 w 8451880"/>
              <a:gd name="connsiteY83" fmla="*/ 536258 h 963549"/>
              <a:gd name="connsiteX84" fmla="*/ 537496 w 8451880"/>
              <a:gd name="connsiteY84" fmla="*/ 436721 h 963549"/>
              <a:gd name="connsiteX85" fmla="*/ 498824 w 8451880"/>
              <a:gd name="connsiteY85" fmla="*/ 368999 h 963549"/>
              <a:gd name="connsiteX86" fmla="*/ 581120 w 8451880"/>
              <a:gd name="connsiteY86" fmla="*/ 368999 h 963549"/>
              <a:gd name="connsiteX87" fmla="*/ 627698 w 8451880"/>
              <a:gd name="connsiteY87" fmla="*/ 443579 h 963549"/>
              <a:gd name="connsiteX88" fmla="*/ 592550 w 8451880"/>
              <a:gd name="connsiteY88" fmla="*/ 496729 h 963549"/>
              <a:gd name="connsiteX0" fmla="*/ 14996512 w 14996512"/>
              <a:gd name="connsiteY0" fmla="*/ 19893 h 963549"/>
              <a:gd name="connsiteX1" fmla="*/ 439579 w 14996512"/>
              <a:gd name="connsiteY1" fmla="*/ 0 h 963549"/>
              <a:gd name="connsiteX2" fmla="*/ 399955 w 14996512"/>
              <a:gd name="connsiteY2" fmla="*/ 72009 h 963549"/>
              <a:gd name="connsiteX3" fmla="*/ 351377 w 14996512"/>
              <a:gd name="connsiteY3" fmla="*/ 72390 h 963549"/>
              <a:gd name="connsiteX4" fmla="*/ 307467 w 14996512"/>
              <a:gd name="connsiteY4" fmla="*/ 0 h 963549"/>
              <a:gd name="connsiteX5" fmla="*/ 118967 w 14996512"/>
              <a:gd name="connsiteY5" fmla="*/ 0 h 963549"/>
              <a:gd name="connsiteX6" fmla="*/ 0 w 14996512"/>
              <a:gd name="connsiteY6" fmla="*/ 199739 h 963549"/>
              <a:gd name="connsiteX7" fmla="*/ 0 w 14996512"/>
              <a:gd name="connsiteY7" fmla="*/ 342138 h 963549"/>
              <a:gd name="connsiteX8" fmla="*/ 78296 w 14996512"/>
              <a:gd name="connsiteY8" fmla="*/ 463772 h 963549"/>
              <a:gd name="connsiteX9" fmla="*/ 204216 w 14996512"/>
              <a:gd name="connsiteY9" fmla="*/ 463772 h 963549"/>
              <a:gd name="connsiteX10" fmla="*/ 219647 w 14996512"/>
              <a:gd name="connsiteY10" fmla="*/ 437007 h 963549"/>
              <a:gd name="connsiteX11" fmla="*/ 381000 w 14996512"/>
              <a:gd name="connsiteY11" fmla="*/ 437007 h 963549"/>
              <a:gd name="connsiteX12" fmla="*/ 399288 w 14996512"/>
              <a:gd name="connsiteY12" fmla="*/ 469773 h 963549"/>
              <a:gd name="connsiteX13" fmla="*/ 399288 w 14996512"/>
              <a:gd name="connsiteY13" fmla="*/ 568071 h 963549"/>
              <a:gd name="connsiteX14" fmla="*/ 434245 w 14996512"/>
              <a:gd name="connsiteY14" fmla="*/ 628841 h 963549"/>
              <a:gd name="connsiteX15" fmla="*/ 434054 w 14996512"/>
              <a:gd name="connsiteY15" fmla="*/ 693325 h 963549"/>
              <a:gd name="connsiteX16" fmla="*/ 492728 w 14996512"/>
              <a:gd name="connsiteY16" fmla="*/ 800005 h 963549"/>
              <a:gd name="connsiteX17" fmla="*/ 492728 w 14996512"/>
              <a:gd name="connsiteY17" fmla="*/ 884873 h 963549"/>
              <a:gd name="connsiteX18" fmla="*/ 559118 w 14996512"/>
              <a:gd name="connsiteY18" fmla="*/ 962978 h 963549"/>
              <a:gd name="connsiteX19" fmla="*/ 645414 w 14996512"/>
              <a:gd name="connsiteY19" fmla="*/ 963549 h 963549"/>
              <a:gd name="connsiteX20" fmla="*/ 688372 w 14996512"/>
              <a:gd name="connsiteY20" fmla="*/ 892112 h 963549"/>
              <a:gd name="connsiteX21" fmla="*/ 688372 w 14996512"/>
              <a:gd name="connsiteY21" fmla="*/ 837914 h 963549"/>
              <a:gd name="connsiteX22" fmla="*/ 784479 w 14996512"/>
              <a:gd name="connsiteY22" fmla="*/ 687229 h 963549"/>
              <a:gd name="connsiteX23" fmla="*/ 784479 w 14996512"/>
              <a:gd name="connsiteY23" fmla="*/ 586169 h 963549"/>
              <a:gd name="connsiteX24" fmla="*/ 831152 w 14996512"/>
              <a:gd name="connsiteY24" fmla="*/ 512636 h 963549"/>
              <a:gd name="connsiteX25" fmla="*/ 886968 w 14996512"/>
              <a:gd name="connsiteY25" fmla="*/ 513207 h 963549"/>
              <a:gd name="connsiteX26" fmla="*/ 979075 w 14996512"/>
              <a:gd name="connsiteY26" fmla="*/ 352139 h 963549"/>
              <a:gd name="connsiteX27" fmla="*/ 809530 w 14996512"/>
              <a:gd name="connsiteY27" fmla="*/ 352139 h 963549"/>
              <a:gd name="connsiteX28" fmla="*/ 761333 w 14996512"/>
              <a:gd name="connsiteY28" fmla="*/ 269367 h 963549"/>
              <a:gd name="connsiteX29" fmla="*/ 761429 w 14996512"/>
              <a:gd name="connsiteY29" fmla="*/ 189357 h 963549"/>
              <a:gd name="connsiteX30" fmla="*/ 681419 w 14996512"/>
              <a:gd name="connsiteY30" fmla="*/ 77438 h 963549"/>
              <a:gd name="connsiteX31" fmla="*/ 655511 w 14996512"/>
              <a:gd name="connsiteY31" fmla="*/ 77438 h 963549"/>
              <a:gd name="connsiteX32" fmla="*/ 487299 w 14996512"/>
              <a:gd name="connsiteY32" fmla="*/ 77438 h 963549"/>
              <a:gd name="connsiteX33" fmla="*/ 443293 w 14996512"/>
              <a:gd name="connsiteY33" fmla="*/ 153448 h 963549"/>
              <a:gd name="connsiteX34" fmla="*/ 316421 w 14996512"/>
              <a:gd name="connsiteY34" fmla="*/ 153448 h 963549"/>
              <a:gd name="connsiteX35" fmla="*/ 265843 w 14996512"/>
              <a:gd name="connsiteY35" fmla="*/ 67056 h 963549"/>
              <a:gd name="connsiteX36" fmla="*/ 159639 w 14996512"/>
              <a:gd name="connsiteY36" fmla="*/ 67056 h 963549"/>
              <a:gd name="connsiteX37" fmla="*/ 71914 w 14996512"/>
              <a:gd name="connsiteY37" fmla="*/ 225457 h 963549"/>
              <a:gd name="connsiteX38" fmla="*/ 71914 w 14996512"/>
              <a:gd name="connsiteY38" fmla="*/ 311753 h 963549"/>
              <a:gd name="connsiteX39" fmla="*/ 121825 w 14996512"/>
              <a:gd name="connsiteY39" fmla="*/ 393192 h 963549"/>
              <a:gd name="connsiteX40" fmla="*/ 160687 w 14996512"/>
              <a:gd name="connsiteY40" fmla="*/ 393192 h 963549"/>
              <a:gd name="connsiteX41" fmla="*/ 173260 w 14996512"/>
              <a:gd name="connsiteY41" fmla="*/ 370332 h 963549"/>
              <a:gd name="connsiteX42" fmla="*/ 416433 w 14996512"/>
              <a:gd name="connsiteY42" fmla="*/ 370332 h 963549"/>
              <a:gd name="connsiteX43" fmla="*/ 465392 w 14996512"/>
              <a:gd name="connsiteY43" fmla="*/ 455676 h 963549"/>
              <a:gd name="connsiteX44" fmla="*/ 465392 w 14996512"/>
              <a:gd name="connsiteY44" fmla="*/ 556736 h 963549"/>
              <a:gd name="connsiteX45" fmla="*/ 500443 w 14996512"/>
              <a:gd name="connsiteY45" fmla="*/ 616839 h 963549"/>
              <a:gd name="connsiteX46" fmla="*/ 500443 w 14996512"/>
              <a:gd name="connsiteY46" fmla="*/ 678275 h 963549"/>
              <a:gd name="connsiteX47" fmla="*/ 563309 w 14996512"/>
              <a:gd name="connsiteY47" fmla="*/ 783527 h 963549"/>
              <a:gd name="connsiteX48" fmla="*/ 563309 w 14996512"/>
              <a:gd name="connsiteY48" fmla="*/ 847344 h 963549"/>
              <a:gd name="connsiteX49" fmla="*/ 594932 w 14996512"/>
              <a:gd name="connsiteY49" fmla="*/ 888492 h 963549"/>
              <a:gd name="connsiteX50" fmla="*/ 609124 w 14996512"/>
              <a:gd name="connsiteY50" fmla="*/ 888492 h 963549"/>
              <a:gd name="connsiteX51" fmla="*/ 628460 w 14996512"/>
              <a:gd name="connsiteY51" fmla="*/ 856488 h 963549"/>
              <a:gd name="connsiteX52" fmla="*/ 628460 w 14996512"/>
              <a:gd name="connsiteY52" fmla="*/ 810292 h 963549"/>
              <a:gd name="connsiteX53" fmla="*/ 717899 w 14996512"/>
              <a:gd name="connsiteY53" fmla="*/ 667226 h 963549"/>
              <a:gd name="connsiteX54" fmla="*/ 718566 w 14996512"/>
              <a:gd name="connsiteY54" fmla="*/ 556165 h 963549"/>
              <a:gd name="connsiteX55" fmla="*/ 790956 w 14996512"/>
              <a:gd name="connsiteY55" fmla="*/ 448056 h 963549"/>
              <a:gd name="connsiteX56" fmla="*/ 843725 w 14996512"/>
              <a:gd name="connsiteY56" fmla="*/ 447770 h 963549"/>
              <a:gd name="connsiteX57" fmla="*/ 861060 w 14996512"/>
              <a:gd name="connsiteY57" fmla="*/ 419957 h 963549"/>
              <a:gd name="connsiteX58" fmla="*/ 767239 w 14996512"/>
              <a:gd name="connsiteY58" fmla="*/ 419957 h 963549"/>
              <a:gd name="connsiteX59" fmla="*/ 691229 w 14996512"/>
              <a:gd name="connsiteY59" fmla="*/ 291370 h 963549"/>
              <a:gd name="connsiteX60" fmla="*/ 689229 w 14996512"/>
              <a:gd name="connsiteY60" fmla="*/ 210407 h 963549"/>
              <a:gd name="connsiteX61" fmla="*/ 640271 w 14996512"/>
              <a:gd name="connsiteY61" fmla="*/ 144399 h 963549"/>
              <a:gd name="connsiteX62" fmla="*/ 532352 w 14996512"/>
              <a:gd name="connsiteY62" fmla="*/ 143447 h 963549"/>
              <a:gd name="connsiteX63" fmla="*/ 483108 w 14996512"/>
              <a:gd name="connsiteY63" fmla="*/ 228410 h 963549"/>
              <a:gd name="connsiteX64" fmla="*/ 271082 w 14996512"/>
              <a:gd name="connsiteY64" fmla="*/ 228410 h 963549"/>
              <a:gd name="connsiteX65" fmla="*/ 227743 w 14996512"/>
              <a:gd name="connsiteY65" fmla="*/ 156782 h 963549"/>
              <a:gd name="connsiteX66" fmla="*/ 200216 w 14996512"/>
              <a:gd name="connsiteY66" fmla="*/ 156782 h 963549"/>
              <a:gd name="connsiteX67" fmla="*/ 152019 w 14996512"/>
              <a:gd name="connsiteY67" fmla="*/ 248126 h 963549"/>
              <a:gd name="connsiteX68" fmla="*/ 150781 w 14996512"/>
              <a:gd name="connsiteY68" fmla="*/ 298990 h 963549"/>
              <a:gd name="connsiteX69" fmla="*/ 153638 w 14996512"/>
              <a:gd name="connsiteY69" fmla="*/ 303562 h 963549"/>
              <a:gd name="connsiteX70" fmla="*/ 157353 w 14996512"/>
              <a:gd name="connsiteY70" fmla="*/ 303467 h 963549"/>
              <a:gd name="connsiteX71" fmla="*/ 161068 w 14996512"/>
              <a:gd name="connsiteY71" fmla="*/ 298990 h 963549"/>
              <a:gd name="connsiteX72" fmla="*/ 525304 w 14996512"/>
              <a:gd name="connsiteY72" fmla="*/ 299180 h 963549"/>
              <a:gd name="connsiteX73" fmla="*/ 578739 w 14996512"/>
              <a:gd name="connsiteY73" fmla="*/ 213741 h 963549"/>
              <a:gd name="connsiteX74" fmla="*/ 607314 w 14996512"/>
              <a:gd name="connsiteY74" fmla="*/ 213741 h 963549"/>
              <a:gd name="connsiteX75" fmla="*/ 629317 w 14996512"/>
              <a:gd name="connsiteY75" fmla="*/ 242697 h 963549"/>
              <a:gd name="connsiteX76" fmla="*/ 629317 w 14996512"/>
              <a:gd name="connsiteY76" fmla="*/ 322326 h 963549"/>
              <a:gd name="connsiteX77" fmla="*/ 704945 w 14996512"/>
              <a:gd name="connsiteY77" fmla="*/ 449294 h 963549"/>
              <a:gd name="connsiteX78" fmla="*/ 648938 w 14996512"/>
              <a:gd name="connsiteY78" fmla="*/ 533400 h 963549"/>
              <a:gd name="connsiteX79" fmla="*/ 647510 w 14996512"/>
              <a:gd name="connsiteY79" fmla="*/ 650558 h 963549"/>
              <a:gd name="connsiteX80" fmla="*/ 603409 w 14996512"/>
              <a:gd name="connsiteY80" fmla="*/ 716852 h 963549"/>
              <a:gd name="connsiteX81" fmla="*/ 563404 w 14996512"/>
              <a:gd name="connsiteY81" fmla="*/ 649700 h 963549"/>
              <a:gd name="connsiteX82" fmla="*/ 563404 w 14996512"/>
              <a:gd name="connsiteY82" fmla="*/ 578644 h 963549"/>
              <a:gd name="connsiteX83" fmla="*/ 537496 w 14996512"/>
              <a:gd name="connsiteY83" fmla="*/ 536258 h 963549"/>
              <a:gd name="connsiteX84" fmla="*/ 537496 w 14996512"/>
              <a:gd name="connsiteY84" fmla="*/ 436721 h 963549"/>
              <a:gd name="connsiteX85" fmla="*/ 498824 w 14996512"/>
              <a:gd name="connsiteY85" fmla="*/ 368999 h 963549"/>
              <a:gd name="connsiteX86" fmla="*/ 581120 w 14996512"/>
              <a:gd name="connsiteY86" fmla="*/ 368999 h 963549"/>
              <a:gd name="connsiteX87" fmla="*/ 627698 w 14996512"/>
              <a:gd name="connsiteY87" fmla="*/ 443579 h 963549"/>
              <a:gd name="connsiteX88" fmla="*/ 592550 w 14996512"/>
              <a:gd name="connsiteY88" fmla="*/ 496729 h 963549"/>
              <a:gd name="connsiteX0" fmla="*/ 15115867 w 15115867"/>
              <a:gd name="connsiteY0" fmla="*/ 0 h 1023226"/>
              <a:gd name="connsiteX1" fmla="*/ 439579 w 15115867"/>
              <a:gd name="connsiteY1" fmla="*/ 59677 h 1023226"/>
              <a:gd name="connsiteX2" fmla="*/ 399955 w 15115867"/>
              <a:gd name="connsiteY2" fmla="*/ 131686 h 1023226"/>
              <a:gd name="connsiteX3" fmla="*/ 351377 w 15115867"/>
              <a:gd name="connsiteY3" fmla="*/ 132067 h 1023226"/>
              <a:gd name="connsiteX4" fmla="*/ 307467 w 15115867"/>
              <a:gd name="connsiteY4" fmla="*/ 59677 h 1023226"/>
              <a:gd name="connsiteX5" fmla="*/ 118967 w 15115867"/>
              <a:gd name="connsiteY5" fmla="*/ 59677 h 1023226"/>
              <a:gd name="connsiteX6" fmla="*/ 0 w 15115867"/>
              <a:gd name="connsiteY6" fmla="*/ 259416 h 1023226"/>
              <a:gd name="connsiteX7" fmla="*/ 0 w 15115867"/>
              <a:gd name="connsiteY7" fmla="*/ 401815 h 1023226"/>
              <a:gd name="connsiteX8" fmla="*/ 78296 w 15115867"/>
              <a:gd name="connsiteY8" fmla="*/ 523449 h 1023226"/>
              <a:gd name="connsiteX9" fmla="*/ 204216 w 15115867"/>
              <a:gd name="connsiteY9" fmla="*/ 523449 h 1023226"/>
              <a:gd name="connsiteX10" fmla="*/ 219647 w 15115867"/>
              <a:gd name="connsiteY10" fmla="*/ 496684 h 1023226"/>
              <a:gd name="connsiteX11" fmla="*/ 381000 w 15115867"/>
              <a:gd name="connsiteY11" fmla="*/ 496684 h 1023226"/>
              <a:gd name="connsiteX12" fmla="*/ 399288 w 15115867"/>
              <a:gd name="connsiteY12" fmla="*/ 529450 h 1023226"/>
              <a:gd name="connsiteX13" fmla="*/ 399288 w 15115867"/>
              <a:gd name="connsiteY13" fmla="*/ 627748 h 1023226"/>
              <a:gd name="connsiteX14" fmla="*/ 434245 w 15115867"/>
              <a:gd name="connsiteY14" fmla="*/ 688518 h 1023226"/>
              <a:gd name="connsiteX15" fmla="*/ 434054 w 15115867"/>
              <a:gd name="connsiteY15" fmla="*/ 753002 h 1023226"/>
              <a:gd name="connsiteX16" fmla="*/ 492728 w 15115867"/>
              <a:gd name="connsiteY16" fmla="*/ 859682 h 1023226"/>
              <a:gd name="connsiteX17" fmla="*/ 492728 w 15115867"/>
              <a:gd name="connsiteY17" fmla="*/ 944550 h 1023226"/>
              <a:gd name="connsiteX18" fmla="*/ 559118 w 15115867"/>
              <a:gd name="connsiteY18" fmla="*/ 1022655 h 1023226"/>
              <a:gd name="connsiteX19" fmla="*/ 645414 w 15115867"/>
              <a:gd name="connsiteY19" fmla="*/ 1023226 h 1023226"/>
              <a:gd name="connsiteX20" fmla="*/ 688372 w 15115867"/>
              <a:gd name="connsiteY20" fmla="*/ 951789 h 1023226"/>
              <a:gd name="connsiteX21" fmla="*/ 688372 w 15115867"/>
              <a:gd name="connsiteY21" fmla="*/ 897591 h 1023226"/>
              <a:gd name="connsiteX22" fmla="*/ 784479 w 15115867"/>
              <a:gd name="connsiteY22" fmla="*/ 746906 h 1023226"/>
              <a:gd name="connsiteX23" fmla="*/ 784479 w 15115867"/>
              <a:gd name="connsiteY23" fmla="*/ 645846 h 1023226"/>
              <a:gd name="connsiteX24" fmla="*/ 831152 w 15115867"/>
              <a:gd name="connsiteY24" fmla="*/ 572313 h 1023226"/>
              <a:gd name="connsiteX25" fmla="*/ 886968 w 15115867"/>
              <a:gd name="connsiteY25" fmla="*/ 572884 h 1023226"/>
              <a:gd name="connsiteX26" fmla="*/ 979075 w 15115867"/>
              <a:gd name="connsiteY26" fmla="*/ 411816 h 1023226"/>
              <a:gd name="connsiteX27" fmla="*/ 809530 w 15115867"/>
              <a:gd name="connsiteY27" fmla="*/ 411816 h 1023226"/>
              <a:gd name="connsiteX28" fmla="*/ 761333 w 15115867"/>
              <a:gd name="connsiteY28" fmla="*/ 329044 h 1023226"/>
              <a:gd name="connsiteX29" fmla="*/ 761429 w 15115867"/>
              <a:gd name="connsiteY29" fmla="*/ 249034 h 1023226"/>
              <a:gd name="connsiteX30" fmla="*/ 681419 w 15115867"/>
              <a:gd name="connsiteY30" fmla="*/ 137115 h 1023226"/>
              <a:gd name="connsiteX31" fmla="*/ 655511 w 15115867"/>
              <a:gd name="connsiteY31" fmla="*/ 137115 h 1023226"/>
              <a:gd name="connsiteX32" fmla="*/ 487299 w 15115867"/>
              <a:gd name="connsiteY32" fmla="*/ 137115 h 1023226"/>
              <a:gd name="connsiteX33" fmla="*/ 443293 w 15115867"/>
              <a:gd name="connsiteY33" fmla="*/ 213125 h 1023226"/>
              <a:gd name="connsiteX34" fmla="*/ 316421 w 15115867"/>
              <a:gd name="connsiteY34" fmla="*/ 213125 h 1023226"/>
              <a:gd name="connsiteX35" fmla="*/ 265843 w 15115867"/>
              <a:gd name="connsiteY35" fmla="*/ 126733 h 1023226"/>
              <a:gd name="connsiteX36" fmla="*/ 159639 w 15115867"/>
              <a:gd name="connsiteY36" fmla="*/ 126733 h 1023226"/>
              <a:gd name="connsiteX37" fmla="*/ 71914 w 15115867"/>
              <a:gd name="connsiteY37" fmla="*/ 285134 h 1023226"/>
              <a:gd name="connsiteX38" fmla="*/ 71914 w 15115867"/>
              <a:gd name="connsiteY38" fmla="*/ 371430 h 1023226"/>
              <a:gd name="connsiteX39" fmla="*/ 121825 w 15115867"/>
              <a:gd name="connsiteY39" fmla="*/ 452869 h 1023226"/>
              <a:gd name="connsiteX40" fmla="*/ 160687 w 15115867"/>
              <a:gd name="connsiteY40" fmla="*/ 452869 h 1023226"/>
              <a:gd name="connsiteX41" fmla="*/ 173260 w 15115867"/>
              <a:gd name="connsiteY41" fmla="*/ 430009 h 1023226"/>
              <a:gd name="connsiteX42" fmla="*/ 416433 w 15115867"/>
              <a:gd name="connsiteY42" fmla="*/ 430009 h 1023226"/>
              <a:gd name="connsiteX43" fmla="*/ 465392 w 15115867"/>
              <a:gd name="connsiteY43" fmla="*/ 515353 h 1023226"/>
              <a:gd name="connsiteX44" fmla="*/ 465392 w 15115867"/>
              <a:gd name="connsiteY44" fmla="*/ 616413 h 1023226"/>
              <a:gd name="connsiteX45" fmla="*/ 500443 w 15115867"/>
              <a:gd name="connsiteY45" fmla="*/ 676516 h 1023226"/>
              <a:gd name="connsiteX46" fmla="*/ 500443 w 15115867"/>
              <a:gd name="connsiteY46" fmla="*/ 737952 h 1023226"/>
              <a:gd name="connsiteX47" fmla="*/ 563309 w 15115867"/>
              <a:gd name="connsiteY47" fmla="*/ 843204 h 1023226"/>
              <a:gd name="connsiteX48" fmla="*/ 563309 w 15115867"/>
              <a:gd name="connsiteY48" fmla="*/ 907021 h 1023226"/>
              <a:gd name="connsiteX49" fmla="*/ 594932 w 15115867"/>
              <a:gd name="connsiteY49" fmla="*/ 948169 h 1023226"/>
              <a:gd name="connsiteX50" fmla="*/ 609124 w 15115867"/>
              <a:gd name="connsiteY50" fmla="*/ 948169 h 1023226"/>
              <a:gd name="connsiteX51" fmla="*/ 628460 w 15115867"/>
              <a:gd name="connsiteY51" fmla="*/ 916165 h 1023226"/>
              <a:gd name="connsiteX52" fmla="*/ 628460 w 15115867"/>
              <a:gd name="connsiteY52" fmla="*/ 869969 h 1023226"/>
              <a:gd name="connsiteX53" fmla="*/ 717899 w 15115867"/>
              <a:gd name="connsiteY53" fmla="*/ 726903 h 1023226"/>
              <a:gd name="connsiteX54" fmla="*/ 718566 w 15115867"/>
              <a:gd name="connsiteY54" fmla="*/ 615842 h 1023226"/>
              <a:gd name="connsiteX55" fmla="*/ 790956 w 15115867"/>
              <a:gd name="connsiteY55" fmla="*/ 507733 h 1023226"/>
              <a:gd name="connsiteX56" fmla="*/ 843725 w 15115867"/>
              <a:gd name="connsiteY56" fmla="*/ 507447 h 1023226"/>
              <a:gd name="connsiteX57" fmla="*/ 861060 w 15115867"/>
              <a:gd name="connsiteY57" fmla="*/ 479634 h 1023226"/>
              <a:gd name="connsiteX58" fmla="*/ 767239 w 15115867"/>
              <a:gd name="connsiteY58" fmla="*/ 479634 h 1023226"/>
              <a:gd name="connsiteX59" fmla="*/ 691229 w 15115867"/>
              <a:gd name="connsiteY59" fmla="*/ 351047 h 1023226"/>
              <a:gd name="connsiteX60" fmla="*/ 689229 w 15115867"/>
              <a:gd name="connsiteY60" fmla="*/ 270084 h 1023226"/>
              <a:gd name="connsiteX61" fmla="*/ 640271 w 15115867"/>
              <a:gd name="connsiteY61" fmla="*/ 204076 h 1023226"/>
              <a:gd name="connsiteX62" fmla="*/ 532352 w 15115867"/>
              <a:gd name="connsiteY62" fmla="*/ 203124 h 1023226"/>
              <a:gd name="connsiteX63" fmla="*/ 483108 w 15115867"/>
              <a:gd name="connsiteY63" fmla="*/ 288087 h 1023226"/>
              <a:gd name="connsiteX64" fmla="*/ 271082 w 15115867"/>
              <a:gd name="connsiteY64" fmla="*/ 288087 h 1023226"/>
              <a:gd name="connsiteX65" fmla="*/ 227743 w 15115867"/>
              <a:gd name="connsiteY65" fmla="*/ 216459 h 1023226"/>
              <a:gd name="connsiteX66" fmla="*/ 200216 w 15115867"/>
              <a:gd name="connsiteY66" fmla="*/ 216459 h 1023226"/>
              <a:gd name="connsiteX67" fmla="*/ 152019 w 15115867"/>
              <a:gd name="connsiteY67" fmla="*/ 307803 h 1023226"/>
              <a:gd name="connsiteX68" fmla="*/ 150781 w 15115867"/>
              <a:gd name="connsiteY68" fmla="*/ 358667 h 1023226"/>
              <a:gd name="connsiteX69" fmla="*/ 153638 w 15115867"/>
              <a:gd name="connsiteY69" fmla="*/ 363239 h 1023226"/>
              <a:gd name="connsiteX70" fmla="*/ 157353 w 15115867"/>
              <a:gd name="connsiteY70" fmla="*/ 363144 h 1023226"/>
              <a:gd name="connsiteX71" fmla="*/ 161068 w 15115867"/>
              <a:gd name="connsiteY71" fmla="*/ 358667 h 1023226"/>
              <a:gd name="connsiteX72" fmla="*/ 525304 w 15115867"/>
              <a:gd name="connsiteY72" fmla="*/ 358857 h 1023226"/>
              <a:gd name="connsiteX73" fmla="*/ 578739 w 15115867"/>
              <a:gd name="connsiteY73" fmla="*/ 273418 h 1023226"/>
              <a:gd name="connsiteX74" fmla="*/ 607314 w 15115867"/>
              <a:gd name="connsiteY74" fmla="*/ 273418 h 1023226"/>
              <a:gd name="connsiteX75" fmla="*/ 629317 w 15115867"/>
              <a:gd name="connsiteY75" fmla="*/ 302374 h 1023226"/>
              <a:gd name="connsiteX76" fmla="*/ 629317 w 15115867"/>
              <a:gd name="connsiteY76" fmla="*/ 382003 h 1023226"/>
              <a:gd name="connsiteX77" fmla="*/ 704945 w 15115867"/>
              <a:gd name="connsiteY77" fmla="*/ 508971 h 1023226"/>
              <a:gd name="connsiteX78" fmla="*/ 648938 w 15115867"/>
              <a:gd name="connsiteY78" fmla="*/ 593077 h 1023226"/>
              <a:gd name="connsiteX79" fmla="*/ 647510 w 15115867"/>
              <a:gd name="connsiteY79" fmla="*/ 710235 h 1023226"/>
              <a:gd name="connsiteX80" fmla="*/ 603409 w 15115867"/>
              <a:gd name="connsiteY80" fmla="*/ 776529 h 1023226"/>
              <a:gd name="connsiteX81" fmla="*/ 563404 w 15115867"/>
              <a:gd name="connsiteY81" fmla="*/ 709377 h 1023226"/>
              <a:gd name="connsiteX82" fmla="*/ 563404 w 15115867"/>
              <a:gd name="connsiteY82" fmla="*/ 638321 h 1023226"/>
              <a:gd name="connsiteX83" fmla="*/ 537496 w 15115867"/>
              <a:gd name="connsiteY83" fmla="*/ 595935 h 1023226"/>
              <a:gd name="connsiteX84" fmla="*/ 537496 w 15115867"/>
              <a:gd name="connsiteY84" fmla="*/ 496398 h 1023226"/>
              <a:gd name="connsiteX85" fmla="*/ 498824 w 15115867"/>
              <a:gd name="connsiteY85" fmla="*/ 428676 h 1023226"/>
              <a:gd name="connsiteX86" fmla="*/ 581120 w 15115867"/>
              <a:gd name="connsiteY86" fmla="*/ 428676 h 1023226"/>
              <a:gd name="connsiteX87" fmla="*/ 627698 w 15115867"/>
              <a:gd name="connsiteY87" fmla="*/ 503256 h 1023226"/>
              <a:gd name="connsiteX88" fmla="*/ 592550 w 15115867"/>
              <a:gd name="connsiteY88" fmla="*/ 556406 h 1023226"/>
              <a:gd name="connsiteX0" fmla="*/ 15083451 w 15083451"/>
              <a:gd name="connsiteY0" fmla="*/ 5158 h 963549"/>
              <a:gd name="connsiteX1" fmla="*/ 439579 w 15083451"/>
              <a:gd name="connsiteY1" fmla="*/ 0 h 963549"/>
              <a:gd name="connsiteX2" fmla="*/ 399955 w 15083451"/>
              <a:gd name="connsiteY2" fmla="*/ 72009 h 963549"/>
              <a:gd name="connsiteX3" fmla="*/ 351377 w 15083451"/>
              <a:gd name="connsiteY3" fmla="*/ 72390 h 963549"/>
              <a:gd name="connsiteX4" fmla="*/ 307467 w 15083451"/>
              <a:gd name="connsiteY4" fmla="*/ 0 h 963549"/>
              <a:gd name="connsiteX5" fmla="*/ 118967 w 15083451"/>
              <a:gd name="connsiteY5" fmla="*/ 0 h 963549"/>
              <a:gd name="connsiteX6" fmla="*/ 0 w 15083451"/>
              <a:gd name="connsiteY6" fmla="*/ 199739 h 963549"/>
              <a:gd name="connsiteX7" fmla="*/ 0 w 15083451"/>
              <a:gd name="connsiteY7" fmla="*/ 342138 h 963549"/>
              <a:gd name="connsiteX8" fmla="*/ 78296 w 15083451"/>
              <a:gd name="connsiteY8" fmla="*/ 463772 h 963549"/>
              <a:gd name="connsiteX9" fmla="*/ 204216 w 15083451"/>
              <a:gd name="connsiteY9" fmla="*/ 463772 h 963549"/>
              <a:gd name="connsiteX10" fmla="*/ 219647 w 15083451"/>
              <a:gd name="connsiteY10" fmla="*/ 437007 h 963549"/>
              <a:gd name="connsiteX11" fmla="*/ 381000 w 15083451"/>
              <a:gd name="connsiteY11" fmla="*/ 437007 h 963549"/>
              <a:gd name="connsiteX12" fmla="*/ 399288 w 15083451"/>
              <a:gd name="connsiteY12" fmla="*/ 469773 h 963549"/>
              <a:gd name="connsiteX13" fmla="*/ 399288 w 15083451"/>
              <a:gd name="connsiteY13" fmla="*/ 568071 h 963549"/>
              <a:gd name="connsiteX14" fmla="*/ 434245 w 15083451"/>
              <a:gd name="connsiteY14" fmla="*/ 628841 h 963549"/>
              <a:gd name="connsiteX15" fmla="*/ 434054 w 15083451"/>
              <a:gd name="connsiteY15" fmla="*/ 693325 h 963549"/>
              <a:gd name="connsiteX16" fmla="*/ 492728 w 15083451"/>
              <a:gd name="connsiteY16" fmla="*/ 800005 h 963549"/>
              <a:gd name="connsiteX17" fmla="*/ 492728 w 15083451"/>
              <a:gd name="connsiteY17" fmla="*/ 884873 h 963549"/>
              <a:gd name="connsiteX18" fmla="*/ 559118 w 15083451"/>
              <a:gd name="connsiteY18" fmla="*/ 962978 h 963549"/>
              <a:gd name="connsiteX19" fmla="*/ 645414 w 15083451"/>
              <a:gd name="connsiteY19" fmla="*/ 963549 h 963549"/>
              <a:gd name="connsiteX20" fmla="*/ 688372 w 15083451"/>
              <a:gd name="connsiteY20" fmla="*/ 892112 h 963549"/>
              <a:gd name="connsiteX21" fmla="*/ 688372 w 15083451"/>
              <a:gd name="connsiteY21" fmla="*/ 837914 h 963549"/>
              <a:gd name="connsiteX22" fmla="*/ 784479 w 15083451"/>
              <a:gd name="connsiteY22" fmla="*/ 687229 h 963549"/>
              <a:gd name="connsiteX23" fmla="*/ 784479 w 15083451"/>
              <a:gd name="connsiteY23" fmla="*/ 586169 h 963549"/>
              <a:gd name="connsiteX24" fmla="*/ 831152 w 15083451"/>
              <a:gd name="connsiteY24" fmla="*/ 512636 h 963549"/>
              <a:gd name="connsiteX25" fmla="*/ 886968 w 15083451"/>
              <a:gd name="connsiteY25" fmla="*/ 513207 h 963549"/>
              <a:gd name="connsiteX26" fmla="*/ 979075 w 15083451"/>
              <a:gd name="connsiteY26" fmla="*/ 352139 h 963549"/>
              <a:gd name="connsiteX27" fmla="*/ 809530 w 15083451"/>
              <a:gd name="connsiteY27" fmla="*/ 352139 h 963549"/>
              <a:gd name="connsiteX28" fmla="*/ 761333 w 15083451"/>
              <a:gd name="connsiteY28" fmla="*/ 269367 h 963549"/>
              <a:gd name="connsiteX29" fmla="*/ 761429 w 15083451"/>
              <a:gd name="connsiteY29" fmla="*/ 189357 h 963549"/>
              <a:gd name="connsiteX30" fmla="*/ 681419 w 15083451"/>
              <a:gd name="connsiteY30" fmla="*/ 77438 h 963549"/>
              <a:gd name="connsiteX31" fmla="*/ 655511 w 15083451"/>
              <a:gd name="connsiteY31" fmla="*/ 77438 h 963549"/>
              <a:gd name="connsiteX32" fmla="*/ 487299 w 15083451"/>
              <a:gd name="connsiteY32" fmla="*/ 77438 h 963549"/>
              <a:gd name="connsiteX33" fmla="*/ 443293 w 15083451"/>
              <a:gd name="connsiteY33" fmla="*/ 153448 h 963549"/>
              <a:gd name="connsiteX34" fmla="*/ 316421 w 15083451"/>
              <a:gd name="connsiteY34" fmla="*/ 153448 h 963549"/>
              <a:gd name="connsiteX35" fmla="*/ 265843 w 15083451"/>
              <a:gd name="connsiteY35" fmla="*/ 67056 h 963549"/>
              <a:gd name="connsiteX36" fmla="*/ 159639 w 15083451"/>
              <a:gd name="connsiteY36" fmla="*/ 67056 h 963549"/>
              <a:gd name="connsiteX37" fmla="*/ 71914 w 15083451"/>
              <a:gd name="connsiteY37" fmla="*/ 225457 h 963549"/>
              <a:gd name="connsiteX38" fmla="*/ 71914 w 15083451"/>
              <a:gd name="connsiteY38" fmla="*/ 311753 h 963549"/>
              <a:gd name="connsiteX39" fmla="*/ 121825 w 15083451"/>
              <a:gd name="connsiteY39" fmla="*/ 393192 h 963549"/>
              <a:gd name="connsiteX40" fmla="*/ 160687 w 15083451"/>
              <a:gd name="connsiteY40" fmla="*/ 393192 h 963549"/>
              <a:gd name="connsiteX41" fmla="*/ 173260 w 15083451"/>
              <a:gd name="connsiteY41" fmla="*/ 370332 h 963549"/>
              <a:gd name="connsiteX42" fmla="*/ 416433 w 15083451"/>
              <a:gd name="connsiteY42" fmla="*/ 370332 h 963549"/>
              <a:gd name="connsiteX43" fmla="*/ 465392 w 15083451"/>
              <a:gd name="connsiteY43" fmla="*/ 455676 h 963549"/>
              <a:gd name="connsiteX44" fmla="*/ 465392 w 15083451"/>
              <a:gd name="connsiteY44" fmla="*/ 556736 h 963549"/>
              <a:gd name="connsiteX45" fmla="*/ 500443 w 15083451"/>
              <a:gd name="connsiteY45" fmla="*/ 616839 h 963549"/>
              <a:gd name="connsiteX46" fmla="*/ 500443 w 15083451"/>
              <a:gd name="connsiteY46" fmla="*/ 678275 h 963549"/>
              <a:gd name="connsiteX47" fmla="*/ 563309 w 15083451"/>
              <a:gd name="connsiteY47" fmla="*/ 783527 h 963549"/>
              <a:gd name="connsiteX48" fmla="*/ 563309 w 15083451"/>
              <a:gd name="connsiteY48" fmla="*/ 847344 h 963549"/>
              <a:gd name="connsiteX49" fmla="*/ 594932 w 15083451"/>
              <a:gd name="connsiteY49" fmla="*/ 888492 h 963549"/>
              <a:gd name="connsiteX50" fmla="*/ 609124 w 15083451"/>
              <a:gd name="connsiteY50" fmla="*/ 888492 h 963549"/>
              <a:gd name="connsiteX51" fmla="*/ 628460 w 15083451"/>
              <a:gd name="connsiteY51" fmla="*/ 856488 h 963549"/>
              <a:gd name="connsiteX52" fmla="*/ 628460 w 15083451"/>
              <a:gd name="connsiteY52" fmla="*/ 810292 h 963549"/>
              <a:gd name="connsiteX53" fmla="*/ 717899 w 15083451"/>
              <a:gd name="connsiteY53" fmla="*/ 667226 h 963549"/>
              <a:gd name="connsiteX54" fmla="*/ 718566 w 15083451"/>
              <a:gd name="connsiteY54" fmla="*/ 556165 h 963549"/>
              <a:gd name="connsiteX55" fmla="*/ 790956 w 15083451"/>
              <a:gd name="connsiteY55" fmla="*/ 448056 h 963549"/>
              <a:gd name="connsiteX56" fmla="*/ 843725 w 15083451"/>
              <a:gd name="connsiteY56" fmla="*/ 447770 h 963549"/>
              <a:gd name="connsiteX57" fmla="*/ 861060 w 15083451"/>
              <a:gd name="connsiteY57" fmla="*/ 419957 h 963549"/>
              <a:gd name="connsiteX58" fmla="*/ 767239 w 15083451"/>
              <a:gd name="connsiteY58" fmla="*/ 419957 h 963549"/>
              <a:gd name="connsiteX59" fmla="*/ 691229 w 15083451"/>
              <a:gd name="connsiteY59" fmla="*/ 291370 h 963549"/>
              <a:gd name="connsiteX60" fmla="*/ 689229 w 15083451"/>
              <a:gd name="connsiteY60" fmla="*/ 210407 h 963549"/>
              <a:gd name="connsiteX61" fmla="*/ 640271 w 15083451"/>
              <a:gd name="connsiteY61" fmla="*/ 144399 h 963549"/>
              <a:gd name="connsiteX62" fmla="*/ 532352 w 15083451"/>
              <a:gd name="connsiteY62" fmla="*/ 143447 h 963549"/>
              <a:gd name="connsiteX63" fmla="*/ 483108 w 15083451"/>
              <a:gd name="connsiteY63" fmla="*/ 228410 h 963549"/>
              <a:gd name="connsiteX64" fmla="*/ 271082 w 15083451"/>
              <a:gd name="connsiteY64" fmla="*/ 228410 h 963549"/>
              <a:gd name="connsiteX65" fmla="*/ 227743 w 15083451"/>
              <a:gd name="connsiteY65" fmla="*/ 156782 h 963549"/>
              <a:gd name="connsiteX66" fmla="*/ 200216 w 15083451"/>
              <a:gd name="connsiteY66" fmla="*/ 156782 h 963549"/>
              <a:gd name="connsiteX67" fmla="*/ 152019 w 15083451"/>
              <a:gd name="connsiteY67" fmla="*/ 248126 h 963549"/>
              <a:gd name="connsiteX68" fmla="*/ 150781 w 15083451"/>
              <a:gd name="connsiteY68" fmla="*/ 298990 h 963549"/>
              <a:gd name="connsiteX69" fmla="*/ 153638 w 15083451"/>
              <a:gd name="connsiteY69" fmla="*/ 303562 h 963549"/>
              <a:gd name="connsiteX70" fmla="*/ 157353 w 15083451"/>
              <a:gd name="connsiteY70" fmla="*/ 303467 h 963549"/>
              <a:gd name="connsiteX71" fmla="*/ 161068 w 15083451"/>
              <a:gd name="connsiteY71" fmla="*/ 298990 h 963549"/>
              <a:gd name="connsiteX72" fmla="*/ 525304 w 15083451"/>
              <a:gd name="connsiteY72" fmla="*/ 299180 h 963549"/>
              <a:gd name="connsiteX73" fmla="*/ 578739 w 15083451"/>
              <a:gd name="connsiteY73" fmla="*/ 213741 h 963549"/>
              <a:gd name="connsiteX74" fmla="*/ 607314 w 15083451"/>
              <a:gd name="connsiteY74" fmla="*/ 213741 h 963549"/>
              <a:gd name="connsiteX75" fmla="*/ 629317 w 15083451"/>
              <a:gd name="connsiteY75" fmla="*/ 242697 h 963549"/>
              <a:gd name="connsiteX76" fmla="*/ 629317 w 15083451"/>
              <a:gd name="connsiteY76" fmla="*/ 322326 h 963549"/>
              <a:gd name="connsiteX77" fmla="*/ 704945 w 15083451"/>
              <a:gd name="connsiteY77" fmla="*/ 449294 h 963549"/>
              <a:gd name="connsiteX78" fmla="*/ 648938 w 15083451"/>
              <a:gd name="connsiteY78" fmla="*/ 533400 h 963549"/>
              <a:gd name="connsiteX79" fmla="*/ 647510 w 15083451"/>
              <a:gd name="connsiteY79" fmla="*/ 650558 h 963549"/>
              <a:gd name="connsiteX80" fmla="*/ 603409 w 15083451"/>
              <a:gd name="connsiteY80" fmla="*/ 716852 h 963549"/>
              <a:gd name="connsiteX81" fmla="*/ 563404 w 15083451"/>
              <a:gd name="connsiteY81" fmla="*/ 649700 h 963549"/>
              <a:gd name="connsiteX82" fmla="*/ 563404 w 15083451"/>
              <a:gd name="connsiteY82" fmla="*/ 578644 h 963549"/>
              <a:gd name="connsiteX83" fmla="*/ 537496 w 15083451"/>
              <a:gd name="connsiteY83" fmla="*/ 536258 h 963549"/>
              <a:gd name="connsiteX84" fmla="*/ 537496 w 15083451"/>
              <a:gd name="connsiteY84" fmla="*/ 436721 h 963549"/>
              <a:gd name="connsiteX85" fmla="*/ 498824 w 15083451"/>
              <a:gd name="connsiteY85" fmla="*/ 368999 h 963549"/>
              <a:gd name="connsiteX86" fmla="*/ 581120 w 15083451"/>
              <a:gd name="connsiteY86" fmla="*/ 368999 h 963549"/>
              <a:gd name="connsiteX87" fmla="*/ 627698 w 15083451"/>
              <a:gd name="connsiteY87" fmla="*/ 443579 h 963549"/>
              <a:gd name="connsiteX88" fmla="*/ 592550 w 15083451"/>
              <a:gd name="connsiteY88" fmla="*/ 496729 h 9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15083451" h="963549">
                <a:moveTo>
                  <a:pt x="15083451" y="5158"/>
                </a:moveTo>
                <a:lnTo>
                  <a:pt x="439579" y="0"/>
                </a:lnTo>
                <a:lnTo>
                  <a:pt x="399955" y="72009"/>
                </a:lnTo>
                <a:lnTo>
                  <a:pt x="351377" y="72390"/>
                </a:lnTo>
                <a:lnTo>
                  <a:pt x="307467" y="0"/>
                </a:lnTo>
                <a:lnTo>
                  <a:pt x="118967" y="0"/>
                </a:lnTo>
                <a:lnTo>
                  <a:pt x="0" y="199739"/>
                </a:lnTo>
                <a:lnTo>
                  <a:pt x="0" y="342138"/>
                </a:lnTo>
                <a:lnTo>
                  <a:pt x="78296" y="463772"/>
                </a:lnTo>
                <a:lnTo>
                  <a:pt x="204216" y="463772"/>
                </a:lnTo>
                <a:lnTo>
                  <a:pt x="219647" y="437007"/>
                </a:lnTo>
                <a:lnTo>
                  <a:pt x="381000" y="437007"/>
                </a:lnTo>
                <a:lnTo>
                  <a:pt x="399288" y="469773"/>
                </a:lnTo>
                <a:lnTo>
                  <a:pt x="399288" y="568071"/>
                </a:lnTo>
                <a:lnTo>
                  <a:pt x="434245" y="628841"/>
                </a:lnTo>
                <a:cubicBezTo>
                  <a:pt x="434181" y="650336"/>
                  <a:pt x="434118" y="671830"/>
                  <a:pt x="434054" y="693325"/>
                </a:cubicBezTo>
                <a:lnTo>
                  <a:pt x="492728" y="800005"/>
                </a:lnTo>
                <a:lnTo>
                  <a:pt x="492728" y="884873"/>
                </a:lnTo>
                <a:lnTo>
                  <a:pt x="559118" y="962978"/>
                </a:lnTo>
                <a:lnTo>
                  <a:pt x="645414" y="963549"/>
                </a:lnTo>
                <a:lnTo>
                  <a:pt x="688372" y="892112"/>
                </a:lnTo>
                <a:lnTo>
                  <a:pt x="688372" y="837914"/>
                </a:lnTo>
                <a:lnTo>
                  <a:pt x="784479" y="687229"/>
                </a:lnTo>
                <a:lnTo>
                  <a:pt x="784479" y="586169"/>
                </a:lnTo>
                <a:lnTo>
                  <a:pt x="831152" y="512636"/>
                </a:lnTo>
                <a:lnTo>
                  <a:pt x="886968" y="513207"/>
                </a:lnTo>
                <a:lnTo>
                  <a:pt x="979075" y="352139"/>
                </a:lnTo>
                <a:lnTo>
                  <a:pt x="809530" y="352139"/>
                </a:lnTo>
                <a:lnTo>
                  <a:pt x="761333" y="269367"/>
                </a:lnTo>
                <a:lnTo>
                  <a:pt x="761429" y="189357"/>
                </a:lnTo>
                <a:lnTo>
                  <a:pt x="681419" y="77438"/>
                </a:lnTo>
                <a:lnTo>
                  <a:pt x="655511" y="77438"/>
                </a:lnTo>
                <a:lnTo>
                  <a:pt x="487299" y="77438"/>
                </a:lnTo>
                <a:lnTo>
                  <a:pt x="443293" y="153448"/>
                </a:lnTo>
                <a:lnTo>
                  <a:pt x="316421" y="153448"/>
                </a:lnTo>
                <a:lnTo>
                  <a:pt x="265843" y="67056"/>
                </a:lnTo>
                <a:lnTo>
                  <a:pt x="159639" y="67056"/>
                </a:lnTo>
                <a:lnTo>
                  <a:pt x="71914" y="225457"/>
                </a:lnTo>
                <a:lnTo>
                  <a:pt x="71914" y="311753"/>
                </a:lnTo>
                <a:lnTo>
                  <a:pt x="121825" y="393192"/>
                </a:lnTo>
                <a:lnTo>
                  <a:pt x="160687" y="393192"/>
                </a:lnTo>
                <a:lnTo>
                  <a:pt x="173260" y="370332"/>
                </a:lnTo>
                <a:lnTo>
                  <a:pt x="416433" y="370332"/>
                </a:lnTo>
                <a:lnTo>
                  <a:pt x="465392" y="455676"/>
                </a:lnTo>
                <a:lnTo>
                  <a:pt x="465392" y="556736"/>
                </a:lnTo>
                <a:lnTo>
                  <a:pt x="500443" y="616839"/>
                </a:lnTo>
                <a:lnTo>
                  <a:pt x="500443" y="678275"/>
                </a:lnTo>
                <a:lnTo>
                  <a:pt x="563309" y="783527"/>
                </a:lnTo>
                <a:lnTo>
                  <a:pt x="563309" y="847344"/>
                </a:lnTo>
                <a:lnTo>
                  <a:pt x="594932" y="888492"/>
                </a:lnTo>
                <a:lnTo>
                  <a:pt x="609124" y="888492"/>
                </a:lnTo>
                <a:lnTo>
                  <a:pt x="628460" y="856488"/>
                </a:lnTo>
                <a:lnTo>
                  <a:pt x="628460" y="810292"/>
                </a:lnTo>
                <a:lnTo>
                  <a:pt x="717899" y="667226"/>
                </a:lnTo>
                <a:cubicBezTo>
                  <a:pt x="718121" y="630206"/>
                  <a:pt x="718344" y="593185"/>
                  <a:pt x="718566" y="556165"/>
                </a:cubicBezTo>
                <a:lnTo>
                  <a:pt x="790956" y="448056"/>
                </a:lnTo>
                <a:lnTo>
                  <a:pt x="843725" y="447770"/>
                </a:lnTo>
                <a:lnTo>
                  <a:pt x="861060" y="419957"/>
                </a:lnTo>
                <a:lnTo>
                  <a:pt x="767239" y="419957"/>
                </a:lnTo>
                <a:lnTo>
                  <a:pt x="691229" y="291370"/>
                </a:lnTo>
                <a:cubicBezTo>
                  <a:pt x="690562" y="264382"/>
                  <a:pt x="689896" y="237395"/>
                  <a:pt x="689229" y="210407"/>
                </a:cubicBezTo>
                <a:lnTo>
                  <a:pt x="640271" y="144399"/>
                </a:lnTo>
                <a:lnTo>
                  <a:pt x="532352" y="143447"/>
                </a:lnTo>
                <a:lnTo>
                  <a:pt x="483108" y="228410"/>
                </a:lnTo>
                <a:lnTo>
                  <a:pt x="271082" y="228410"/>
                </a:lnTo>
                <a:lnTo>
                  <a:pt x="227743" y="156782"/>
                </a:lnTo>
                <a:lnTo>
                  <a:pt x="200216" y="156782"/>
                </a:lnTo>
                <a:lnTo>
                  <a:pt x="152019" y="248126"/>
                </a:lnTo>
                <a:cubicBezTo>
                  <a:pt x="151606" y="265081"/>
                  <a:pt x="151194" y="282035"/>
                  <a:pt x="150781" y="298990"/>
                </a:cubicBezTo>
                <a:lnTo>
                  <a:pt x="153638" y="303562"/>
                </a:lnTo>
                <a:lnTo>
                  <a:pt x="157353" y="303467"/>
                </a:lnTo>
                <a:lnTo>
                  <a:pt x="161068" y="298990"/>
                </a:lnTo>
                <a:lnTo>
                  <a:pt x="525304" y="299180"/>
                </a:lnTo>
                <a:lnTo>
                  <a:pt x="578739" y="213741"/>
                </a:lnTo>
                <a:lnTo>
                  <a:pt x="607314" y="213741"/>
                </a:lnTo>
                <a:lnTo>
                  <a:pt x="629317" y="242697"/>
                </a:lnTo>
                <a:lnTo>
                  <a:pt x="629317" y="322326"/>
                </a:lnTo>
                <a:lnTo>
                  <a:pt x="704945" y="449294"/>
                </a:lnTo>
                <a:lnTo>
                  <a:pt x="648938" y="533400"/>
                </a:lnTo>
                <a:lnTo>
                  <a:pt x="647510" y="650558"/>
                </a:lnTo>
                <a:lnTo>
                  <a:pt x="603409" y="716852"/>
                </a:lnTo>
                <a:lnTo>
                  <a:pt x="563404" y="649700"/>
                </a:lnTo>
                <a:lnTo>
                  <a:pt x="563404" y="578644"/>
                </a:lnTo>
                <a:lnTo>
                  <a:pt x="537496" y="536258"/>
                </a:lnTo>
                <a:lnTo>
                  <a:pt x="537496" y="436721"/>
                </a:lnTo>
                <a:lnTo>
                  <a:pt x="498824" y="368999"/>
                </a:lnTo>
                <a:lnTo>
                  <a:pt x="581120" y="368999"/>
                </a:lnTo>
                <a:lnTo>
                  <a:pt x="627698" y="443579"/>
                </a:lnTo>
                <a:lnTo>
                  <a:pt x="592550" y="496729"/>
                </a:lnTo>
              </a:path>
            </a:pathLst>
          </a:custGeom>
          <a:noFill/>
          <a:ln w="7144" cap="flat">
            <a:solidFill>
              <a:srgbClr val="E63C2B"/>
            </a:solidFill>
            <a:prstDash val="solid"/>
            <a:miter/>
          </a:ln>
        </p:spPr>
        <p:txBody>
          <a:bodyPr rtlCol="0" anchor="ctr"/>
          <a:lstStyle/>
          <a:p>
            <a:endParaRPr lang="en-US" sz="825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40B27B1-9BEE-85F0-5F8D-2FE6D5DDD203}"/>
              </a:ext>
            </a:extLst>
          </p:cNvPr>
          <p:cNvSpPr/>
          <p:nvPr userDrawn="1"/>
        </p:nvSpPr>
        <p:spPr>
          <a:xfrm>
            <a:off x="501343" y="857544"/>
            <a:ext cx="432049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A1B3B9E-600F-FC15-707B-431B65AD49C7}"/>
              </a:ext>
            </a:extLst>
          </p:cNvPr>
          <p:cNvSpPr/>
          <p:nvPr userDrawn="1"/>
        </p:nvSpPr>
        <p:spPr>
          <a:xfrm>
            <a:off x="380693" y="914694"/>
            <a:ext cx="432049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D1B1B81-36CD-9D78-49C8-71B7E7E54A6F}"/>
              </a:ext>
            </a:extLst>
          </p:cNvPr>
          <p:cNvSpPr/>
          <p:nvPr userDrawn="1"/>
        </p:nvSpPr>
        <p:spPr>
          <a:xfrm>
            <a:off x="69296" y="867069"/>
            <a:ext cx="362506" cy="72008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/>
          <a:lstStyle/>
          <a:p>
            <a:pPr algn="ctr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342909-EEA3-22BC-20EC-DD8352F176C2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6799" y="260005"/>
            <a:ext cx="1428987" cy="97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951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  <p:sldLayoutId id="2147483852" r:id="rId13"/>
    <p:sldLayoutId id="2147483853" r:id="rId14"/>
    <p:sldLayoutId id="2147483854" r:id="rId15"/>
    <p:sldLayoutId id="2147483855" r:id="rId16"/>
    <p:sldLayoutId id="2147483856" r:id="rId17"/>
    <p:sldLayoutId id="2147483857" r:id="rId18"/>
    <p:sldLayoutId id="2147483858" r:id="rId19"/>
    <p:sldLayoutId id="2147483859" r:id="rId20"/>
    <p:sldLayoutId id="2147483860" r:id="rId21"/>
    <p:sldLayoutId id="2147483861" r:id="rId22"/>
    <p:sldLayoutId id="2147483862" r:id="rId23"/>
    <p:sldLayoutId id="2147483863" r:id="rId24"/>
    <p:sldLayoutId id="2147483864" r:id="rId25"/>
    <p:sldLayoutId id="2147483865" r:id="rId26"/>
    <p:sldLayoutId id="2147483866" r:id="rId27"/>
    <p:sldLayoutId id="2147483867" r:id="rId28"/>
    <p:sldLayoutId id="2147483869" r:id="rId29"/>
  </p:sldLayoutIdLst>
  <p:hf hdr="0" ftr="0" dt="0"/>
  <p:txStyles>
    <p:titleStyle>
      <a:lvl1pPr algn="l" defTabSz="584318" rtl="0" eaLnBrk="1" latinLnBrk="0" hangingPunct="1">
        <a:spcBef>
          <a:spcPct val="0"/>
        </a:spcBef>
        <a:buNone/>
        <a:defRPr sz="2100" b="1" i="0" kern="1200" cap="none" spc="0" baseline="0">
          <a:solidFill>
            <a:schemeClr val="tx1"/>
          </a:solidFill>
          <a:latin typeface="Apex New Bold" panose="02010600040501010103" pitchFamily="2" charset="77"/>
          <a:ea typeface="Apex New Bold" panose="02010600040501010103" pitchFamily="2" charset="77"/>
          <a:cs typeface="+mj-cs"/>
        </a:defRPr>
      </a:lvl1pPr>
    </p:titleStyle>
    <p:bodyStyle>
      <a:lvl1pPr marL="0" indent="0" algn="l" defTabSz="584318" rtl="0" eaLnBrk="1" latinLnBrk="0" hangingPunct="1">
        <a:lnSpc>
          <a:spcPct val="110000"/>
        </a:lnSpc>
        <a:spcBef>
          <a:spcPts val="767"/>
        </a:spcBef>
        <a:spcAft>
          <a:spcPts val="256"/>
        </a:spcAft>
        <a:buFont typeface="Arial" pitchFamily="34" charset="0"/>
        <a:buNone/>
        <a:defRPr sz="15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171441" indent="-106516" algn="l" defTabSz="584318" rtl="0" eaLnBrk="1" latinLnBrk="0" hangingPunct="1">
        <a:lnSpc>
          <a:spcPct val="110000"/>
        </a:lnSpc>
        <a:spcBef>
          <a:spcPts val="129"/>
        </a:spcBef>
        <a:spcAft>
          <a:spcPts val="129"/>
        </a:spcAft>
        <a:buFont typeface="Arial" pitchFamily="34" charset="0"/>
        <a:buChar char="•"/>
        <a:defRPr sz="135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398675" indent="-120719" algn="l" defTabSz="584318" rtl="0" eaLnBrk="1" latinLnBrk="0" hangingPunct="1">
        <a:lnSpc>
          <a:spcPct val="110000"/>
        </a:lnSpc>
        <a:spcBef>
          <a:spcPts val="63"/>
        </a:spcBef>
        <a:spcAft>
          <a:spcPts val="129"/>
        </a:spcAft>
        <a:buFont typeface="Arial" pitchFamily="34" charset="0"/>
        <a:buChar char="›"/>
        <a:defRPr sz="12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573159" indent="-116661" algn="l" defTabSz="584318" rtl="0" eaLnBrk="1" latinLnBrk="0" hangingPunct="1">
        <a:lnSpc>
          <a:spcPct val="110000"/>
        </a:lnSpc>
        <a:spcBef>
          <a:spcPts val="63"/>
        </a:spcBef>
        <a:spcAft>
          <a:spcPts val="129"/>
        </a:spcAft>
        <a:buFont typeface="Arial" pitchFamily="34" charset="0"/>
        <a:buChar char="–"/>
        <a:defRPr sz="105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808509" indent="-117675" algn="l" defTabSz="584318" rtl="0" eaLnBrk="1" latinLnBrk="0" hangingPunct="1">
        <a:lnSpc>
          <a:spcPct val="110000"/>
        </a:lnSpc>
        <a:spcBef>
          <a:spcPts val="63"/>
        </a:spcBef>
        <a:spcAft>
          <a:spcPts val="129"/>
        </a:spcAft>
        <a:buFont typeface="Arial" pitchFamily="34" charset="0"/>
        <a:buChar char="»"/>
        <a:defRPr sz="105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1606874" indent="-146079" algn="l" defTabSz="584318" rtl="0" eaLnBrk="1" latinLnBrk="0" hangingPunct="1">
        <a:spcBef>
          <a:spcPct val="20000"/>
        </a:spcBef>
        <a:buFont typeface="Arial" pitchFamily="34" charset="0"/>
        <a:buChar char="•"/>
        <a:defRPr sz="1277" kern="1200">
          <a:solidFill>
            <a:schemeClr val="tx1"/>
          </a:solidFill>
          <a:latin typeface="+mn-lt"/>
          <a:ea typeface="+mn-ea"/>
          <a:cs typeface="+mn-cs"/>
        </a:defRPr>
      </a:lvl6pPr>
      <a:lvl7pPr marL="1899032" indent="-146079" algn="l" defTabSz="584318" rtl="0" eaLnBrk="1" latinLnBrk="0" hangingPunct="1">
        <a:spcBef>
          <a:spcPct val="20000"/>
        </a:spcBef>
        <a:buFont typeface="Arial" pitchFamily="34" charset="0"/>
        <a:buChar char="•"/>
        <a:defRPr sz="1277" kern="1200">
          <a:solidFill>
            <a:schemeClr val="tx1"/>
          </a:solidFill>
          <a:latin typeface="+mn-lt"/>
          <a:ea typeface="+mn-ea"/>
          <a:cs typeface="+mn-cs"/>
        </a:defRPr>
      </a:lvl7pPr>
      <a:lvl8pPr marL="2191191" indent="-146079" algn="l" defTabSz="584318" rtl="0" eaLnBrk="1" latinLnBrk="0" hangingPunct="1">
        <a:spcBef>
          <a:spcPct val="20000"/>
        </a:spcBef>
        <a:buFont typeface="Arial" pitchFamily="34" charset="0"/>
        <a:buChar char="•"/>
        <a:defRPr sz="1277" kern="1200">
          <a:solidFill>
            <a:schemeClr val="tx1"/>
          </a:solidFill>
          <a:latin typeface="+mn-lt"/>
          <a:ea typeface="+mn-ea"/>
          <a:cs typeface="+mn-cs"/>
        </a:defRPr>
      </a:lvl8pPr>
      <a:lvl9pPr marL="2483350" indent="-146079" algn="l" defTabSz="584318" rtl="0" eaLnBrk="1" latinLnBrk="0" hangingPunct="1">
        <a:spcBef>
          <a:spcPct val="20000"/>
        </a:spcBef>
        <a:buFont typeface="Arial" pitchFamily="34" charset="0"/>
        <a:buChar char="•"/>
        <a:defRPr sz="12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1pPr>
      <a:lvl2pPr marL="292159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2pPr>
      <a:lvl3pPr marL="584318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3pPr>
      <a:lvl4pPr marL="876476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4pPr>
      <a:lvl5pPr marL="1168635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5pPr>
      <a:lvl6pPr marL="1460794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6pPr>
      <a:lvl7pPr marL="1752953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7pPr>
      <a:lvl8pPr marL="2045111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8pPr>
      <a:lvl9pPr marL="2337271" algn="l" defTabSz="584318" rtl="0" eaLnBrk="1" latinLnBrk="0" hangingPunct="1">
        <a:defRPr sz="11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>
          <p15:clr>
            <a:srgbClr val="F26B43"/>
          </p15:clr>
        </p15:guide>
        <p15:guide id="4" orient="horz" pos="4156">
          <p15:clr>
            <a:srgbClr val="F26B43"/>
          </p15:clr>
        </p15:guide>
        <p15:guide id="5" orient="horz" pos="2432">
          <p15:clr>
            <a:srgbClr val="F26B43"/>
          </p15:clr>
        </p15:guide>
        <p15:guide id="7" orient="horz" pos="9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9404129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1" imgH="420" progId="TCLayout.ActiveDocument.1">
                  <p:embed/>
                </p:oleObj>
              </mc:Choice>
              <mc:Fallback>
                <p:oleObj name="think-cell Slide" r:id="rId14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8755" y="276058"/>
            <a:ext cx="10457775" cy="7201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SLID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8329" y="1200483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Rectangle 6"/>
          <p:cNvSpPr/>
          <p:nvPr userDrawn="1"/>
        </p:nvSpPr>
        <p:spPr>
          <a:xfrm>
            <a:off x="443786" y="62927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>
              <a:solidFill>
                <a:schemeClr val="tx1">
                  <a:lumMod val="50000"/>
                  <a:lumOff val="50000"/>
                </a:schemeClr>
              </a:solidFill>
              <a:latin typeface="Tahoma"/>
            </a:endParaRPr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C94C95BE-8722-4D8D-93E0-75343B78F809}"/>
              </a:ext>
            </a:extLst>
          </p:cNvPr>
          <p:cNvSpPr/>
          <p:nvPr userDrawn="1"/>
        </p:nvSpPr>
        <p:spPr>
          <a:xfrm>
            <a:off x="568328" y="1121575"/>
            <a:ext cx="11055343" cy="45719"/>
          </a:xfrm>
          <a:custGeom>
            <a:avLst/>
            <a:gdLst/>
            <a:ahLst/>
            <a:cxnLst/>
            <a:rect l="l" t="t" r="r" b="b"/>
            <a:pathLst>
              <a:path w="18230215">
                <a:moveTo>
                  <a:pt x="0" y="0"/>
                </a:moveTo>
                <a:lnTo>
                  <a:pt x="18229780" y="0"/>
                </a:lnTo>
              </a:path>
            </a:pathLst>
          </a:custGeom>
          <a:ln w="20941">
            <a:solidFill>
              <a:srgbClr val="8B8E91"/>
            </a:solidFill>
          </a:ln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8828F517-37FB-4E03-B217-C275D9590891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>
              <a:latin typeface="Tahoma Regular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0567A0-C0A7-4B1B-AE7B-212F10FDF1C1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46762" y="16185"/>
            <a:ext cx="1148040" cy="1151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753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4" r:id="rId10"/>
    <p:sldLayoutId id="2147483895" r:id="rId11"/>
  </p:sldLayoutIdLst>
  <p:hf hdr="0" ftr="0" dt="0"/>
  <p:txStyles>
    <p:titleStyle>
      <a:lvl1pPr algn="l" defTabSz="779173" rtl="0" eaLnBrk="1" latinLnBrk="0" hangingPunct="1">
        <a:spcBef>
          <a:spcPct val="0"/>
        </a:spcBef>
        <a:buNone/>
        <a:defRPr sz="2800" b="1" kern="1200" cap="none" spc="0" baseline="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779173" rtl="0" eaLnBrk="1" latinLnBrk="0" hangingPunct="1">
        <a:lnSpc>
          <a:spcPct val="110000"/>
        </a:lnSpc>
        <a:spcBef>
          <a:spcPts val="1023"/>
        </a:spcBef>
        <a:spcAft>
          <a:spcPts val="341"/>
        </a:spcAft>
        <a:buFont typeface="Arial" pitchFamily="34" charset="0"/>
        <a:buNone/>
        <a:defRPr sz="20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228612" indent="-142037" algn="l" defTabSz="779173" rtl="0" eaLnBrk="1" latinLnBrk="0" hangingPunct="1">
        <a:lnSpc>
          <a:spcPct val="110000"/>
        </a:lnSpc>
        <a:spcBef>
          <a:spcPts val="171"/>
        </a:spcBef>
        <a:spcAft>
          <a:spcPts val="171"/>
        </a:spcAft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531623" indent="-160976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›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764293" indent="-155565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1078126" indent="-156917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142725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2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98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84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>
          <p15:clr>
            <a:srgbClr val="F26B43"/>
          </p15:clr>
        </p15:guide>
        <p15:guide id="4" orient="horz" pos="4156">
          <p15:clr>
            <a:srgbClr val="F26B43"/>
          </p15:clr>
        </p15:guide>
        <p15:guide id="5" orient="horz" pos="2432">
          <p15:clr>
            <a:srgbClr val="F26B43"/>
          </p15:clr>
        </p15:guide>
        <p15:guide id="7" orient="horz" pos="7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39.xml"/><Relationship Id="rId21" Type="http://schemas.openxmlformats.org/officeDocument/2006/relationships/tags" Target="../tags/tag34.xml"/><Relationship Id="rId42" Type="http://schemas.openxmlformats.org/officeDocument/2006/relationships/tags" Target="../tags/tag55.xml"/><Relationship Id="rId47" Type="http://schemas.openxmlformats.org/officeDocument/2006/relationships/tags" Target="../tags/tag60.xml"/><Relationship Id="rId63" Type="http://schemas.openxmlformats.org/officeDocument/2006/relationships/tags" Target="../tags/tag76.xml"/><Relationship Id="rId68" Type="http://schemas.openxmlformats.org/officeDocument/2006/relationships/tags" Target="../tags/tag81.xml"/><Relationship Id="rId84" Type="http://schemas.openxmlformats.org/officeDocument/2006/relationships/tags" Target="../tags/tag97.xml"/><Relationship Id="rId89" Type="http://schemas.openxmlformats.org/officeDocument/2006/relationships/slideLayout" Target="../slideLayouts/slideLayout70.xml"/><Relationship Id="rId16" Type="http://schemas.openxmlformats.org/officeDocument/2006/relationships/tags" Target="../tags/tag29.xml"/><Relationship Id="rId11" Type="http://schemas.openxmlformats.org/officeDocument/2006/relationships/tags" Target="../tags/tag24.xml"/><Relationship Id="rId32" Type="http://schemas.openxmlformats.org/officeDocument/2006/relationships/tags" Target="../tags/tag45.xml"/><Relationship Id="rId37" Type="http://schemas.openxmlformats.org/officeDocument/2006/relationships/tags" Target="../tags/tag50.xml"/><Relationship Id="rId53" Type="http://schemas.openxmlformats.org/officeDocument/2006/relationships/tags" Target="../tags/tag66.xml"/><Relationship Id="rId58" Type="http://schemas.openxmlformats.org/officeDocument/2006/relationships/tags" Target="../tags/tag71.xml"/><Relationship Id="rId74" Type="http://schemas.openxmlformats.org/officeDocument/2006/relationships/tags" Target="../tags/tag87.xml"/><Relationship Id="rId79" Type="http://schemas.openxmlformats.org/officeDocument/2006/relationships/tags" Target="../tags/tag92.xml"/><Relationship Id="rId5" Type="http://schemas.openxmlformats.org/officeDocument/2006/relationships/tags" Target="../tags/tag18.xml"/><Relationship Id="rId90" Type="http://schemas.openxmlformats.org/officeDocument/2006/relationships/image" Target="../media/image27.png"/><Relationship Id="rId14" Type="http://schemas.openxmlformats.org/officeDocument/2006/relationships/tags" Target="../tags/tag27.xml"/><Relationship Id="rId22" Type="http://schemas.openxmlformats.org/officeDocument/2006/relationships/tags" Target="../tags/tag35.xml"/><Relationship Id="rId27" Type="http://schemas.openxmlformats.org/officeDocument/2006/relationships/tags" Target="../tags/tag40.xml"/><Relationship Id="rId30" Type="http://schemas.openxmlformats.org/officeDocument/2006/relationships/tags" Target="../tags/tag43.xml"/><Relationship Id="rId35" Type="http://schemas.openxmlformats.org/officeDocument/2006/relationships/tags" Target="../tags/tag48.xml"/><Relationship Id="rId43" Type="http://schemas.openxmlformats.org/officeDocument/2006/relationships/tags" Target="../tags/tag56.xml"/><Relationship Id="rId48" Type="http://schemas.openxmlformats.org/officeDocument/2006/relationships/tags" Target="../tags/tag61.xml"/><Relationship Id="rId56" Type="http://schemas.openxmlformats.org/officeDocument/2006/relationships/tags" Target="../tags/tag69.xml"/><Relationship Id="rId64" Type="http://schemas.openxmlformats.org/officeDocument/2006/relationships/tags" Target="../tags/tag77.xml"/><Relationship Id="rId69" Type="http://schemas.openxmlformats.org/officeDocument/2006/relationships/tags" Target="../tags/tag82.xml"/><Relationship Id="rId77" Type="http://schemas.openxmlformats.org/officeDocument/2006/relationships/tags" Target="../tags/tag90.xml"/><Relationship Id="rId8" Type="http://schemas.openxmlformats.org/officeDocument/2006/relationships/tags" Target="../tags/tag21.xml"/><Relationship Id="rId51" Type="http://schemas.openxmlformats.org/officeDocument/2006/relationships/tags" Target="../tags/tag64.xml"/><Relationship Id="rId72" Type="http://schemas.openxmlformats.org/officeDocument/2006/relationships/tags" Target="../tags/tag85.xml"/><Relationship Id="rId80" Type="http://schemas.openxmlformats.org/officeDocument/2006/relationships/tags" Target="../tags/tag93.xml"/><Relationship Id="rId85" Type="http://schemas.openxmlformats.org/officeDocument/2006/relationships/tags" Target="../tags/tag98.xml"/><Relationship Id="rId3" Type="http://schemas.openxmlformats.org/officeDocument/2006/relationships/tags" Target="../tags/tag16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tags" Target="../tags/tag38.xml"/><Relationship Id="rId33" Type="http://schemas.openxmlformats.org/officeDocument/2006/relationships/tags" Target="../tags/tag46.xml"/><Relationship Id="rId38" Type="http://schemas.openxmlformats.org/officeDocument/2006/relationships/tags" Target="../tags/tag51.xml"/><Relationship Id="rId46" Type="http://schemas.openxmlformats.org/officeDocument/2006/relationships/tags" Target="../tags/tag59.xml"/><Relationship Id="rId59" Type="http://schemas.openxmlformats.org/officeDocument/2006/relationships/tags" Target="../tags/tag72.xml"/><Relationship Id="rId67" Type="http://schemas.openxmlformats.org/officeDocument/2006/relationships/tags" Target="../tags/tag80.xml"/><Relationship Id="rId20" Type="http://schemas.openxmlformats.org/officeDocument/2006/relationships/tags" Target="../tags/tag33.xml"/><Relationship Id="rId41" Type="http://schemas.openxmlformats.org/officeDocument/2006/relationships/tags" Target="../tags/tag54.xml"/><Relationship Id="rId54" Type="http://schemas.openxmlformats.org/officeDocument/2006/relationships/tags" Target="../tags/tag67.xml"/><Relationship Id="rId62" Type="http://schemas.openxmlformats.org/officeDocument/2006/relationships/tags" Target="../tags/tag75.xml"/><Relationship Id="rId70" Type="http://schemas.openxmlformats.org/officeDocument/2006/relationships/tags" Target="../tags/tag83.xml"/><Relationship Id="rId75" Type="http://schemas.openxmlformats.org/officeDocument/2006/relationships/tags" Target="../tags/tag88.xml"/><Relationship Id="rId83" Type="http://schemas.openxmlformats.org/officeDocument/2006/relationships/tags" Target="../tags/tag96.xml"/><Relationship Id="rId88" Type="http://schemas.openxmlformats.org/officeDocument/2006/relationships/tags" Target="../tags/tag101.xml"/><Relationship Id="rId91" Type="http://schemas.openxmlformats.org/officeDocument/2006/relationships/image" Target="../media/image28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28" Type="http://schemas.openxmlformats.org/officeDocument/2006/relationships/tags" Target="../tags/tag41.xml"/><Relationship Id="rId36" Type="http://schemas.openxmlformats.org/officeDocument/2006/relationships/tags" Target="../tags/tag49.xml"/><Relationship Id="rId49" Type="http://schemas.openxmlformats.org/officeDocument/2006/relationships/tags" Target="../tags/tag62.xml"/><Relationship Id="rId57" Type="http://schemas.openxmlformats.org/officeDocument/2006/relationships/tags" Target="../tags/tag70.xml"/><Relationship Id="rId10" Type="http://schemas.openxmlformats.org/officeDocument/2006/relationships/tags" Target="../tags/tag23.xml"/><Relationship Id="rId31" Type="http://schemas.openxmlformats.org/officeDocument/2006/relationships/tags" Target="../tags/tag44.xml"/><Relationship Id="rId44" Type="http://schemas.openxmlformats.org/officeDocument/2006/relationships/tags" Target="../tags/tag57.xml"/><Relationship Id="rId52" Type="http://schemas.openxmlformats.org/officeDocument/2006/relationships/tags" Target="../tags/tag65.xml"/><Relationship Id="rId60" Type="http://schemas.openxmlformats.org/officeDocument/2006/relationships/tags" Target="../tags/tag73.xml"/><Relationship Id="rId65" Type="http://schemas.openxmlformats.org/officeDocument/2006/relationships/tags" Target="../tags/tag78.xml"/><Relationship Id="rId73" Type="http://schemas.openxmlformats.org/officeDocument/2006/relationships/tags" Target="../tags/tag86.xml"/><Relationship Id="rId78" Type="http://schemas.openxmlformats.org/officeDocument/2006/relationships/tags" Target="../tags/tag91.xml"/><Relationship Id="rId81" Type="http://schemas.openxmlformats.org/officeDocument/2006/relationships/tags" Target="../tags/tag94.xml"/><Relationship Id="rId86" Type="http://schemas.openxmlformats.org/officeDocument/2006/relationships/tags" Target="../tags/tag99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9" Type="http://schemas.openxmlformats.org/officeDocument/2006/relationships/tags" Target="../tags/tag52.xml"/><Relationship Id="rId34" Type="http://schemas.openxmlformats.org/officeDocument/2006/relationships/tags" Target="../tags/tag47.xml"/><Relationship Id="rId50" Type="http://schemas.openxmlformats.org/officeDocument/2006/relationships/tags" Target="../tags/tag63.xml"/><Relationship Id="rId55" Type="http://schemas.openxmlformats.org/officeDocument/2006/relationships/tags" Target="../tags/tag68.xml"/><Relationship Id="rId76" Type="http://schemas.openxmlformats.org/officeDocument/2006/relationships/tags" Target="../tags/tag89.xml"/><Relationship Id="rId7" Type="http://schemas.openxmlformats.org/officeDocument/2006/relationships/tags" Target="../tags/tag20.xml"/><Relationship Id="rId71" Type="http://schemas.openxmlformats.org/officeDocument/2006/relationships/tags" Target="../tags/tag84.xml"/><Relationship Id="rId92" Type="http://schemas.openxmlformats.org/officeDocument/2006/relationships/image" Target="../media/image29.png"/><Relationship Id="rId2" Type="http://schemas.openxmlformats.org/officeDocument/2006/relationships/tags" Target="../tags/tag15.xml"/><Relationship Id="rId29" Type="http://schemas.openxmlformats.org/officeDocument/2006/relationships/tags" Target="../tags/tag42.xml"/><Relationship Id="rId24" Type="http://schemas.openxmlformats.org/officeDocument/2006/relationships/tags" Target="../tags/tag37.xml"/><Relationship Id="rId40" Type="http://schemas.openxmlformats.org/officeDocument/2006/relationships/tags" Target="../tags/tag53.xml"/><Relationship Id="rId45" Type="http://schemas.openxmlformats.org/officeDocument/2006/relationships/tags" Target="../tags/tag58.xml"/><Relationship Id="rId66" Type="http://schemas.openxmlformats.org/officeDocument/2006/relationships/tags" Target="../tags/tag79.xml"/><Relationship Id="rId87" Type="http://schemas.openxmlformats.org/officeDocument/2006/relationships/tags" Target="../tags/tag100.xml"/><Relationship Id="rId61" Type="http://schemas.openxmlformats.org/officeDocument/2006/relationships/tags" Target="../tags/tag74.xml"/><Relationship Id="rId82" Type="http://schemas.openxmlformats.org/officeDocument/2006/relationships/tags" Target="../tags/tag95.xml"/><Relationship Id="rId19" Type="http://schemas.openxmlformats.org/officeDocument/2006/relationships/tags" Target="../tags/tag3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>
            <a:extLst>
              <a:ext uri="{FF2B5EF4-FFF2-40B4-BE49-F238E27FC236}">
                <a16:creationId xmlns:a16="http://schemas.microsoft.com/office/drawing/2014/main" id="{3BB95173-D454-AF97-C95E-3E044B9B7FE4}"/>
              </a:ext>
            </a:extLst>
          </p:cNvPr>
          <p:cNvSpPr/>
          <p:nvPr/>
        </p:nvSpPr>
        <p:spPr>
          <a:xfrm>
            <a:off x="10165142" y="5713183"/>
            <a:ext cx="502589" cy="287414"/>
          </a:xfrm>
          <a:custGeom>
            <a:avLst/>
            <a:gdLst>
              <a:gd name="connsiteX0" fmla="*/ 221469 w 670159"/>
              <a:gd name="connsiteY0" fmla="*/ 0 h 383241"/>
              <a:gd name="connsiteX1" fmla="*/ 670159 w 670159"/>
              <a:gd name="connsiteY1" fmla="*/ 0 h 383241"/>
              <a:gd name="connsiteX2" fmla="*/ 670159 w 670159"/>
              <a:gd name="connsiteY2" fmla="*/ 214027 h 383241"/>
              <a:gd name="connsiteX3" fmla="*/ 670159 w 670159"/>
              <a:gd name="connsiteY3" fmla="*/ 383241 h 383241"/>
              <a:gd name="connsiteX4" fmla="*/ 0 w 670159"/>
              <a:gd name="connsiteY4" fmla="*/ 383241 h 38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159" h="383241">
                <a:moveTo>
                  <a:pt x="221469" y="0"/>
                </a:moveTo>
                <a:lnTo>
                  <a:pt x="670159" y="0"/>
                </a:lnTo>
                <a:lnTo>
                  <a:pt x="670159" y="214027"/>
                </a:lnTo>
                <a:lnTo>
                  <a:pt x="670159" y="383241"/>
                </a:lnTo>
                <a:lnTo>
                  <a:pt x="0" y="383241"/>
                </a:lnTo>
                <a:close/>
              </a:path>
            </a:pathLst>
          </a:custGeom>
          <a:solidFill>
            <a:srgbClr val="E63C2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998" tIns="26998" rIns="26998" bIns="26998" rtlCol="0" anchor="ctr">
            <a:noAutofit/>
          </a:bodyPr>
          <a:lstStyle/>
          <a:p>
            <a:pPr algn="ctr" defTabSz="342864">
              <a:lnSpc>
                <a:spcPct val="110000"/>
              </a:lnSpc>
              <a:spcBef>
                <a:spcPts val="69"/>
              </a:spcBef>
              <a:spcAft>
                <a:spcPts val="69"/>
              </a:spcAft>
            </a:pPr>
            <a:endParaRPr lang="en-US" sz="692">
              <a:solidFill>
                <a:srgbClr val="000000"/>
              </a:solidFill>
              <a:latin typeface="Tahom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839E4A-A270-8325-7BE7-18C3F3F11C29}"/>
              </a:ext>
            </a:extLst>
          </p:cNvPr>
          <p:cNvSpPr/>
          <p:nvPr/>
        </p:nvSpPr>
        <p:spPr>
          <a:xfrm>
            <a:off x="10215202" y="5758255"/>
            <a:ext cx="390505" cy="160727"/>
          </a:xfrm>
          <a:prstGeom prst="rect">
            <a:avLst/>
          </a:prstGeom>
        </p:spPr>
        <p:txBody>
          <a:bodyPr vert="horz" lIns="0" tIns="0" rIns="0" bIns="34507" rtlCol="0" anchor="b"/>
          <a:lstStyle/>
          <a:p>
            <a:pPr algn="r" defTabSz="342864"/>
            <a:fld id="{6ED65CF5-D76E-45E1-818D-9A8AC32524F3}" type="slidenum">
              <a:rPr lang="en-ZA" sz="675" b="1">
                <a:solidFill>
                  <a:srgbClr val="FFFFFF"/>
                </a:solidFill>
                <a:latin typeface="Tahoma"/>
              </a:rPr>
              <a:pPr algn="r" defTabSz="342864"/>
              <a:t>1</a:t>
            </a:fld>
            <a:endParaRPr lang="en-ZA" sz="575" b="1">
              <a:solidFill>
                <a:srgbClr val="FFFFFF"/>
              </a:solidFill>
              <a:latin typeface="Tahom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2B1984C-F51E-C80D-FE4C-C4F92553946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259" y="1286093"/>
            <a:ext cx="1043790" cy="711255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BB0CE25-33AC-E362-06E9-75D76FACBEC9}"/>
              </a:ext>
            </a:extLst>
          </p:cNvPr>
          <p:cNvSpPr txBox="1">
            <a:spLocks/>
          </p:cNvSpPr>
          <p:nvPr/>
        </p:nvSpPr>
        <p:spPr>
          <a:xfrm>
            <a:off x="171901" y="4436880"/>
            <a:ext cx="8375752" cy="467115"/>
          </a:xfrm>
          <a:prstGeom prst="rect">
            <a:avLst/>
          </a:prstGeom>
        </p:spPr>
        <p:txBody>
          <a:bodyPr vert="horz" lIns="68576" tIns="34288" rIns="68576" bIns="34288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bg1"/>
                </a:solidFill>
                <a:latin typeface="Tahoma Regular"/>
                <a:ea typeface="+mn-ea"/>
                <a:cs typeface="+mn-cs"/>
              </a:defRPr>
            </a:lvl1pPr>
            <a:lvl2pPr marL="44641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9282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3923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564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640" defTabSz="685727">
              <a:spcBef>
                <a:spcPts val="42"/>
              </a:spcBef>
              <a:defRPr/>
            </a:pPr>
            <a:endParaRPr lang="en-GB" sz="2700" dirty="0">
              <a:solidFill>
                <a:sysClr val="window" lastClr="FFFFFF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96B8EB1-106D-570D-1136-BA691E233B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1901" y="2610963"/>
            <a:ext cx="6403544" cy="1420914"/>
          </a:xfrm>
        </p:spPr>
        <p:txBody>
          <a:bodyPr/>
          <a:lstStyle/>
          <a:p>
            <a:pPr marL="5640" algn="l">
              <a:spcBef>
                <a:spcPts val="42"/>
              </a:spcBef>
            </a:pPr>
            <a:r>
              <a:rPr lang="en-GB" sz="2400" b="1" spc="-4" dirty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INTELLIGENT SMART CONTAINER LOCKS</a:t>
            </a:r>
          </a:p>
          <a:p>
            <a:pPr marL="5640" algn="l">
              <a:spcBef>
                <a:spcPts val="42"/>
              </a:spcBef>
            </a:pPr>
            <a:endParaRPr lang="en-GB" sz="2400" b="1" spc="-4" dirty="0">
              <a:solidFill>
                <a:schemeClr val="bg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640" algn="l">
              <a:spcBef>
                <a:spcPts val="42"/>
              </a:spcBef>
            </a:pPr>
            <a:r>
              <a:rPr lang="en-GB" sz="2400" b="1" spc="-4" dirty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11 December </a:t>
            </a:r>
            <a:r>
              <a:rPr lang="en-GB" sz="2400" b="1" dirty="0">
                <a:solidFill>
                  <a:schemeClr val="bg1"/>
                </a:solidFill>
                <a:latin typeface="+mn-lt"/>
              </a:rPr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9102114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Title 1">
            <a:extLst>
              <a:ext uri="{FF2B5EF4-FFF2-40B4-BE49-F238E27FC236}">
                <a16:creationId xmlns:a16="http://schemas.microsoft.com/office/drawing/2014/main" id="{D23F6278-9D36-2790-596B-1DD9E64FA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927" y="193853"/>
            <a:ext cx="10458450" cy="833083"/>
          </a:xfrm>
        </p:spPr>
        <p:txBody>
          <a:bodyPr vert="horz" anchor="t"/>
          <a:lstStyle/>
          <a:p>
            <a:r>
              <a:rPr lang="en-ZA" altLang="en-US" sz="2400" dirty="0">
                <a:solidFill>
                  <a:schemeClr val="tx1"/>
                </a:solidFill>
              </a:rPr>
              <a:t>Container corridor </a:t>
            </a:r>
            <a:br>
              <a:rPr lang="en-ZA" altLang="en-US" sz="2400" dirty="0">
                <a:solidFill>
                  <a:schemeClr val="tx1"/>
                </a:solidFill>
              </a:rPr>
            </a:br>
            <a:r>
              <a:rPr lang="en-ZA" altLang="en-US" sz="2300" b="0" dirty="0">
                <a:solidFill>
                  <a:schemeClr val="tx1"/>
                </a:solidFill>
              </a:rPr>
              <a:t>Schematic Overview: security hotspots, community risk areas, route diversions</a:t>
            </a:r>
            <a:endParaRPr lang="en-US" sz="2300" b="0" dirty="0">
              <a:solidFill>
                <a:schemeClr val="tx1"/>
              </a:solidFill>
            </a:endParaRP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5BB49B09-C600-2E29-54D2-C38E1D55D232}"/>
              </a:ext>
            </a:extLst>
          </p:cNvPr>
          <p:cNvCxnSpPr>
            <a:cxnSpLocks/>
          </p:cNvCxnSpPr>
          <p:nvPr/>
        </p:nvCxnSpPr>
        <p:spPr>
          <a:xfrm flipH="1">
            <a:off x="8165714" y="2001308"/>
            <a:ext cx="554640" cy="1073950"/>
          </a:xfrm>
          <a:prstGeom prst="straightConnector1">
            <a:avLst/>
          </a:prstGeom>
          <a:ln w="15875" cap="rnd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126CA65-0E3E-814F-7706-07CFFB4883F6}"/>
              </a:ext>
            </a:extLst>
          </p:cNvPr>
          <p:cNvCxnSpPr/>
          <p:nvPr/>
        </p:nvCxnSpPr>
        <p:spPr>
          <a:xfrm>
            <a:off x="7138056" y="6443535"/>
            <a:ext cx="1736366" cy="1"/>
          </a:xfrm>
          <a:prstGeom prst="line">
            <a:avLst/>
          </a:prstGeom>
          <a:ln w="1587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6C493F82-3529-E492-1DDB-66B5C429BD32}"/>
              </a:ext>
            </a:extLst>
          </p:cNvPr>
          <p:cNvSpPr/>
          <p:nvPr/>
        </p:nvSpPr>
        <p:spPr>
          <a:xfrm rot="20053587">
            <a:off x="9218001" y="3594442"/>
            <a:ext cx="224303" cy="65137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DBB0181-D6EC-904F-9B6B-F2BCA9095436}"/>
              </a:ext>
            </a:extLst>
          </p:cNvPr>
          <p:cNvSpPr/>
          <p:nvPr/>
        </p:nvSpPr>
        <p:spPr>
          <a:xfrm rot="20053587">
            <a:off x="9558338" y="3653997"/>
            <a:ext cx="234950" cy="62615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8C0D7B-829A-B7F7-D0A1-EE631BAB3D76}"/>
              </a:ext>
            </a:extLst>
          </p:cNvPr>
          <p:cNvSpPr/>
          <p:nvPr/>
        </p:nvSpPr>
        <p:spPr>
          <a:xfrm rot="20053587">
            <a:off x="9929508" y="3597412"/>
            <a:ext cx="281213" cy="59645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6CE68E1F-3981-CCDA-CE7A-7BA41679592D}"/>
              </a:ext>
            </a:extLst>
          </p:cNvPr>
          <p:cNvSpPr/>
          <p:nvPr/>
        </p:nvSpPr>
        <p:spPr>
          <a:xfrm rot="1616781">
            <a:off x="9223375" y="2245884"/>
            <a:ext cx="222250" cy="728778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2D7954F-43FF-A5C9-70C5-809858E46074}"/>
              </a:ext>
            </a:extLst>
          </p:cNvPr>
          <p:cNvSpPr/>
          <p:nvPr/>
        </p:nvSpPr>
        <p:spPr>
          <a:xfrm rot="1616781">
            <a:off x="9568817" y="2204490"/>
            <a:ext cx="210550" cy="79281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BBA03DD2-2B17-40FD-25A0-1C740379B048}"/>
              </a:ext>
            </a:extLst>
          </p:cNvPr>
          <p:cNvSpPr/>
          <p:nvPr/>
        </p:nvSpPr>
        <p:spPr>
          <a:xfrm rot="1616781">
            <a:off x="9989491" y="1897244"/>
            <a:ext cx="265716" cy="108653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6FDAD629-1F4A-6541-35BF-CDAE19FC5606}"/>
              </a:ext>
            </a:extLst>
          </p:cNvPr>
          <p:cNvSpPr/>
          <p:nvPr/>
        </p:nvSpPr>
        <p:spPr>
          <a:xfrm rot="5400000">
            <a:off x="9591136" y="2407156"/>
            <a:ext cx="277817" cy="928938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BF7CE4CF-EC63-07E3-5A45-52289E816A0C}"/>
              </a:ext>
            </a:extLst>
          </p:cNvPr>
          <p:cNvSpPr/>
          <p:nvPr/>
        </p:nvSpPr>
        <p:spPr>
          <a:xfrm>
            <a:off x="10042230" y="4069095"/>
            <a:ext cx="276250" cy="118944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ED932D43-5214-245E-C018-A5A9A783887A}"/>
              </a:ext>
            </a:extLst>
          </p:cNvPr>
          <p:cNvSpPr/>
          <p:nvPr/>
        </p:nvSpPr>
        <p:spPr>
          <a:xfrm>
            <a:off x="9315541" y="4078875"/>
            <a:ext cx="276250" cy="130728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F188851D-BD69-6D89-F41D-81591FC15597}"/>
              </a:ext>
            </a:extLst>
          </p:cNvPr>
          <p:cNvSpPr/>
          <p:nvPr/>
        </p:nvSpPr>
        <p:spPr>
          <a:xfrm rot="16200000">
            <a:off x="9873566" y="2776842"/>
            <a:ext cx="276250" cy="176197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56644AE4-B09C-DE11-21B3-804A0FFE25CC}"/>
              </a:ext>
            </a:extLst>
          </p:cNvPr>
          <p:cNvSpPr/>
          <p:nvPr/>
        </p:nvSpPr>
        <p:spPr>
          <a:xfrm rot="14384038">
            <a:off x="8802688" y="2645934"/>
            <a:ext cx="276225" cy="80002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34" name="Rounded Rectangle 14">
            <a:extLst>
              <a:ext uri="{FF2B5EF4-FFF2-40B4-BE49-F238E27FC236}">
                <a16:creationId xmlns:a16="http://schemas.microsoft.com/office/drawing/2014/main" id="{F4F4E7A1-8149-BC46-E1E3-0DBCB96EC8D5}"/>
              </a:ext>
            </a:extLst>
          </p:cNvPr>
          <p:cNvSpPr/>
          <p:nvPr/>
        </p:nvSpPr>
        <p:spPr>
          <a:xfrm rot="17761432">
            <a:off x="8729663" y="3187272"/>
            <a:ext cx="276225" cy="65613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35" name="Rounded Rectangle 17">
            <a:extLst>
              <a:ext uri="{FF2B5EF4-FFF2-40B4-BE49-F238E27FC236}">
                <a16:creationId xmlns:a16="http://schemas.microsoft.com/office/drawing/2014/main" id="{8A5233B6-2241-C3E4-2164-981155ED3D5A}"/>
              </a:ext>
            </a:extLst>
          </p:cNvPr>
          <p:cNvSpPr/>
          <p:nvPr/>
        </p:nvSpPr>
        <p:spPr>
          <a:xfrm rot="12977468">
            <a:off x="2654392" y="3029374"/>
            <a:ext cx="332481" cy="1322187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36" name="Rounded Rectangle 18">
            <a:extLst>
              <a:ext uri="{FF2B5EF4-FFF2-40B4-BE49-F238E27FC236}">
                <a16:creationId xmlns:a16="http://schemas.microsoft.com/office/drawing/2014/main" id="{7694B1DD-D4E0-8BD4-2976-CBFF02CDDF04}"/>
              </a:ext>
            </a:extLst>
          </p:cNvPr>
          <p:cNvSpPr/>
          <p:nvPr/>
        </p:nvSpPr>
        <p:spPr>
          <a:xfrm rot="11769146">
            <a:off x="6716200" y="3341808"/>
            <a:ext cx="344270" cy="128068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37" name="Rounded Rectangle 19">
            <a:extLst>
              <a:ext uri="{FF2B5EF4-FFF2-40B4-BE49-F238E27FC236}">
                <a16:creationId xmlns:a16="http://schemas.microsoft.com/office/drawing/2014/main" id="{8175D322-E0F3-D3B8-F55F-A160AA7197CE}"/>
              </a:ext>
            </a:extLst>
          </p:cNvPr>
          <p:cNvSpPr/>
          <p:nvPr/>
        </p:nvSpPr>
        <p:spPr>
          <a:xfrm rot="16200000">
            <a:off x="5681253" y="554789"/>
            <a:ext cx="375038" cy="545327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rgbClr val="000000"/>
              </a:solidFill>
            </a:endParaRPr>
          </a:p>
        </p:txBody>
      </p:sp>
      <p:sp>
        <p:nvSpPr>
          <p:cNvPr id="38" name="Line 33">
            <a:extLst>
              <a:ext uri="{FF2B5EF4-FFF2-40B4-BE49-F238E27FC236}">
                <a16:creationId xmlns:a16="http://schemas.microsoft.com/office/drawing/2014/main" id="{8D884AF9-8EE7-87F6-0102-A0B820861FE6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>
            <a:off x="3093975" y="3268683"/>
            <a:ext cx="5485040" cy="4508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39" name="Rectangle 19">
            <a:extLst>
              <a:ext uri="{FF2B5EF4-FFF2-40B4-BE49-F238E27FC236}">
                <a16:creationId xmlns:a16="http://schemas.microsoft.com/office/drawing/2014/main" id="{DBA90F50-DEE6-3FC1-0A71-8ABC9FE883C1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851400" y="6361752"/>
            <a:ext cx="17622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ZA" altLang="en-US" sz="1400" b="1" dirty="0">
                <a:solidFill>
                  <a:srgbClr val="000000"/>
                </a:solidFill>
                <a:latin typeface="Tahoma"/>
              </a:rPr>
              <a:t>Reef feeder lines</a:t>
            </a:r>
          </a:p>
        </p:txBody>
      </p:sp>
      <p:sp>
        <p:nvSpPr>
          <p:cNvPr id="40" name="Rectangle 20">
            <a:extLst>
              <a:ext uri="{FF2B5EF4-FFF2-40B4-BE49-F238E27FC236}">
                <a16:creationId xmlns:a16="http://schemas.microsoft.com/office/drawing/2014/main" id="{19CF29F2-5B77-915D-7CFD-452B8909094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3235" y="6341423"/>
            <a:ext cx="279247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ZA" altLang="en-US" sz="1400" b="1" dirty="0">
                <a:solidFill>
                  <a:srgbClr val="000000"/>
                </a:solidFill>
                <a:latin typeface="Tahoma"/>
              </a:rPr>
              <a:t>Container Cor pipe (~670 km)</a:t>
            </a:r>
          </a:p>
        </p:txBody>
      </p:sp>
      <p:sp>
        <p:nvSpPr>
          <p:cNvPr id="41" name="Rectangle 21">
            <a:extLst>
              <a:ext uri="{FF2B5EF4-FFF2-40B4-BE49-F238E27FC236}">
                <a16:creationId xmlns:a16="http://schemas.microsoft.com/office/drawing/2014/main" id="{395CFDB2-78A0-EBF4-8547-705AF47B089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369069" y="6326437"/>
            <a:ext cx="302748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ZA" altLang="en-US" sz="1400" b="1" dirty="0">
                <a:solidFill>
                  <a:srgbClr val="000000"/>
                </a:solidFill>
                <a:latin typeface="Tahoma"/>
              </a:rPr>
              <a:t>Durban destinations</a:t>
            </a:r>
          </a:p>
        </p:txBody>
      </p:sp>
      <p:sp>
        <p:nvSpPr>
          <p:cNvPr id="42" name="Line 34">
            <a:extLst>
              <a:ext uri="{FF2B5EF4-FFF2-40B4-BE49-F238E27FC236}">
                <a16:creationId xmlns:a16="http://schemas.microsoft.com/office/drawing/2014/main" id="{79880858-09D9-262A-2638-960D79F75BAA}"/>
              </a:ext>
            </a:extLst>
          </p:cNvPr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 flipH="1" flipV="1">
            <a:off x="2450867" y="2814587"/>
            <a:ext cx="606725" cy="422262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3" name="Line 35">
            <a:extLst>
              <a:ext uri="{FF2B5EF4-FFF2-40B4-BE49-F238E27FC236}">
                <a16:creationId xmlns:a16="http://schemas.microsoft.com/office/drawing/2014/main" id="{1B76B69C-8058-DE07-F2BC-D88FAADAD2CF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 flipH="1" flipV="1">
            <a:off x="1650554" y="2204578"/>
            <a:ext cx="801935" cy="600291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4" name="Line 36">
            <a:extLst>
              <a:ext uri="{FF2B5EF4-FFF2-40B4-BE49-F238E27FC236}">
                <a16:creationId xmlns:a16="http://schemas.microsoft.com/office/drawing/2014/main" id="{2AC05F36-E75D-B09B-4D5A-A189BB4115A8}"/>
              </a:ext>
            </a:extLst>
          </p:cNvPr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 flipH="1">
            <a:off x="2472108" y="3244545"/>
            <a:ext cx="608827" cy="900239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5" name="Line 37">
            <a:extLst>
              <a:ext uri="{FF2B5EF4-FFF2-40B4-BE49-F238E27FC236}">
                <a16:creationId xmlns:a16="http://schemas.microsoft.com/office/drawing/2014/main" id="{723234BA-561D-BBF0-7C04-FC05F6CD37A4}"/>
              </a:ext>
            </a:extLst>
          </p:cNvPr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 flipH="1" flipV="1">
            <a:off x="2288176" y="1655582"/>
            <a:ext cx="167553" cy="114280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6" name="Line 44">
            <a:extLst>
              <a:ext uri="{FF2B5EF4-FFF2-40B4-BE49-F238E27FC236}">
                <a16:creationId xmlns:a16="http://schemas.microsoft.com/office/drawing/2014/main" id="{0C8CC376-D821-5C0F-E04B-9A5E78F7BBCB}"/>
              </a:ext>
            </a:extLst>
          </p:cNvPr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 flipH="1" flipV="1">
            <a:off x="6443184" y="2280072"/>
            <a:ext cx="280216" cy="102206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7" name="Line 45">
            <a:extLst>
              <a:ext uri="{FF2B5EF4-FFF2-40B4-BE49-F238E27FC236}">
                <a16:creationId xmlns:a16="http://schemas.microsoft.com/office/drawing/2014/main" id="{B889D46F-2A9D-C0FD-3D82-08C7B800C296}"/>
              </a:ext>
            </a:extLst>
          </p:cNvPr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 flipH="1">
            <a:off x="6723356" y="3298892"/>
            <a:ext cx="343431" cy="126201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8" name="Oval 46">
            <a:extLst>
              <a:ext uri="{FF2B5EF4-FFF2-40B4-BE49-F238E27FC236}">
                <a16:creationId xmlns:a16="http://schemas.microsoft.com/office/drawing/2014/main" id="{1579BF61-D5A9-8B8E-812A-CC28E8C0D480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437323" y="3269736"/>
            <a:ext cx="77748" cy="7774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sp>
        <p:nvSpPr>
          <p:cNvPr id="49" name="Oval 47">
            <a:extLst>
              <a:ext uri="{FF2B5EF4-FFF2-40B4-BE49-F238E27FC236}">
                <a16:creationId xmlns:a16="http://schemas.microsoft.com/office/drawing/2014/main" id="{8B965699-0BCA-6BE2-FD46-DCA319D51839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6274731" y="3269736"/>
            <a:ext cx="77748" cy="7774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sp>
        <p:nvSpPr>
          <p:cNvPr id="50" name="Oval 48">
            <a:extLst>
              <a:ext uri="{FF2B5EF4-FFF2-40B4-BE49-F238E27FC236}">
                <a16:creationId xmlns:a16="http://schemas.microsoft.com/office/drawing/2014/main" id="{A23155BE-25C9-C8D7-87A9-56D9858709DE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7418270" y="3269736"/>
            <a:ext cx="77748" cy="7774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BA24A25-C00C-FC8F-969B-2D65955B0BE0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8542373" y="3269736"/>
            <a:ext cx="77748" cy="7774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sp>
        <p:nvSpPr>
          <p:cNvPr id="52" name="Line 52">
            <a:extLst>
              <a:ext uri="{FF2B5EF4-FFF2-40B4-BE49-F238E27FC236}">
                <a16:creationId xmlns:a16="http://schemas.microsoft.com/office/drawing/2014/main" id="{45E785AC-8628-BA72-9E86-88C4AB9FE51C}"/>
              </a:ext>
            </a:extLst>
          </p:cNvPr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 flipV="1">
            <a:off x="8584488" y="2903675"/>
            <a:ext cx="579869" cy="40655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53" name="Line 53">
            <a:extLst>
              <a:ext uri="{FF2B5EF4-FFF2-40B4-BE49-F238E27FC236}">
                <a16:creationId xmlns:a16="http://schemas.microsoft.com/office/drawing/2014/main" id="{CB4709AB-E249-A66D-ADAD-0CC963314270}"/>
              </a:ext>
            </a:extLst>
          </p:cNvPr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>
            <a:off x="8574769" y="3344664"/>
            <a:ext cx="597686" cy="335287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54" name="Line 54">
            <a:extLst>
              <a:ext uri="{FF2B5EF4-FFF2-40B4-BE49-F238E27FC236}">
                <a16:creationId xmlns:a16="http://schemas.microsoft.com/office/drawing/2014/main" id="{B0AD7982-459E-EB08-D65B-A8CD55165B88}"/>
              </a:ext>
            </a:extLst>
          </p:cNvPr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 flipV="1">
            <a:off x="9162736" y="2341622"/>
            <a:ext cx="289934" cy="562052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55" name="Line 55">
            <a:extLst>
              <a:ext uri="{FF2B5EF4-FFF2-40B4-BE49-F238E27FC236}">
                <a16:creationId xmlns:a16="http://schemas.microsoft.com/office/drawing/2014/main" id="{70CADA93-9A7A-FCBD-7F9C-AAC940D0841B}"/>
              </a:ext>
            </a:extLst>
          </p:cNvPr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 flipV="1">
            <a:off x="9515841" y="2341622"/>
            <a:ext cx="289934" cy="562052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56" name="Line 56">
            <a:extLst>
              <a:ext uri="{FF2B5EF4-FFF2-40B4-BE49-F238E27FC236}">
                <a16:creationId xmlns:a16="http://schemas.microsoft.com/office/drawing/2014/main" id="{7A790DFA-F024-945D-B7F9-437C9D29EFAE}"/>
              </a:ext>
            </a:extLst>
          </p:cNvPr>
          <p:cNvSpPr>
            <a:spLocks noChangeShapeType="1"/>
          </p:cNvSpPr>
          <p:nvPr>
            <p:custDataLst>
              <p:tags r:id="rId19"/>
            </p:custDataLst>
          </p:nvPr>
        </p:nvSpPr>
        <p:spPr bwMode="gray">
          <a:xfrm>
            <a:off x="9172455" y="3637418"/>
            <a:ext cx="289934" cy="562052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57" name="Line 57">
            <a:extLst>
              <a:ext uri="{FF2B5EF4-FFF2-40B4-BE49-F238E27FC236}">
                <a16:creationId xmlns:a16="http://schemas.microsoft.com/office/drawing/2014/main" id="{BA0FF1E1-74A2-6CD6-18D5-3804D98F4DD4}"/>
              </a:ext>
            </a:extLst>
          </p:cNvPr>
          <p:cNvSpPr>
            <a:spLocks noChangeShapeType="1"/>
          </p:cNvSpPr>
          <p:nvPr>
            <p:custDataLst>
              <p:tags r:id="rId20"/>
            </p:custDataLst>
          </p:nvPr>
        </p:nvSpPr>
        <p:spPr bwMode="gray">
          <a:xfrm>
            <a:off x="9172456" y="3637418"/>
            <a:ext cx="362823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58" name="Line 58">
            <a:extLst>
              <a:ext uri="{FF2B5EF4-FFF2-40B4-BE49-F238E27FC236}">
                <a16:creationId xmlns:a16="http://schemas.microsoft.com/office/drawing/2014/main" id="{E6714323-CC7A-093A-5383-6C301FB126CD}"/>
              </a:ext>
            </a:extLst>
          </p:cNvPr>
          <p:cNvSpPr>
            <a:spLocks noChangeShapeType="1"/>
          </p:cNvSpPr>
          <p:nvPr>
            <p:custDataLst>
              <p:tags r:id="rId21"/>
            </p:custDataLst>
          </p:nvPr>
        </p:nvSpPr>
        <p:spPr bwMode="gray">
          <a:xfrm>
            <a:off x="9541758" y="3637418"/>
            <a:ext cx="362823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59" name="Line 59">
            <a:extLst>
              <a:ext uri="{FF2B5EF4-FFF2-40B4-BE49-F238E27FC236}">
                <a16:creationId xmlns:a16="http://schemas.microsoft.com/office/drawing/2014/main" id="{B0F9284C-CB93-AF1A-BF21-DB15510BD074}"/>
              </a:ext>
            </a:extLst>
          </p:cNvPr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>
            <a:off x="9906200" y="3637418"/>
            <a:ext cx="289935" cy="562052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60" name="Line 60">
            <a:extLst>
              <a:ext uri="{FF2B5EF4-FFF2-40B4-BE49-F238E27FC236}">
                <a16:creationId xmlns:a16="http://schemas.microsoft.com/office/drawing/2014/main" id="{968D8EEA-4DF4-6E92-0A12-617FCFCBED7B}"/>
              </a:ext>
            </a:extLst>
          </p:cNvPr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>
            <a:off x="10194513" y="4201090"/>
            <a:ext cx="0" cy="47620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61" name="Line 61">
            <a:extLst>
              <a:ext uri="{FF2B5EF4-FFF2-40B4-BE49-F238E27FC236}">
                <a16:creationId xmlns:a16="http://schemas.microsoft.com/office/drawing/2014/main" id="{90761F5C-6B6D-6E3F-00B8-2D5149491B96}"/>
              </a:ext>
            </a:extLst>
          </p:cNvPr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>
            <a:off x="10194513" y="4675676"/>
            <a:ext cx="0" cy="47620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62" name="Line 62">
            <a:extLst>
              <a:ext uri="{FF2B5EF4-FFF2-40B4-BE49-F238E27FC236}">
                <a16:creationId xmlns:a16="http://schemas.microsoft.com/office/drawing/2014/main" id="{84373BB8-1C04-412A-56A0-8D3F4A2AFC43}"/>
              </a:ext>
            </a:extLst>
          </p:cNvPr>
          <p:cNvSpPr>
            <a:spLocks noChangeShapeType="1"/>
          </p:cNvSpPr>
          <p:nvPr>
            <p:custDataLst>
              <p:tags r:id="rId25"/>
            </p:custDataLst>
          </p:nvPr>
        </p:nvSpPr>
        <p:spPr bwMode="gray">
          <a:xfrm>
            <a:off x="9164356" y="2903674"/>
            <a:ext cx="740224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63" name="Line 63">
            <a:extLst>
              <a:ext uri="{FF2B5EF4-FFF2-40B4-BE49-F238E27FC236}">
                <a16:creationId xmlns:a16="http://schemas.microsoft.com/office/drawing/2014/main" id="{B3FAF4AF-3F92-CADF-7C93-A82EABD89192}"/>
              </a:ext>
            </a:extLst>
          </p:cNvPr>
          <p:cNvSpPr>
            <a:spLocks noChangeShapeType="1"/>
          </p:cNvSpPr>
          <p:nvPr>
            <p:custDataLst>
              <p:tags r:id="rId26"/>
            </p:custDataLst>
          </p:nvPr>
        </p:nvSpPr>
        <p:spPr bwMode="gray">
          <a:xfrm>
            <a:off x="9906200" y="2903674"/>
            <a:ext cx="362823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64" name="Rectangle 64">
            <a:extLst>
              <a:ext uri="{FF2B5EF4-FFF2-40B4-BE49-F238E27FC236}">
                <a16:creationId xmlns:a16="http://schemas.microsoft.com/office/drawing/2014/main" id="{20E8A807-A2EB-16D9-3DB4-AD8C3FD6488C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262371" y="1981188"/>
            <a:ext cx="38472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i="1" dirty="0">
                <a:solidFill>
                  <a:srgbClr val="000000"/>
                </a:solidFill>
                <a:latin typeface="Tahoma"/>
              </a:rPr>
              <a:t>Rosslyn</a:t>
            </a:r>
          </a:p>
        </p:txBody>
      </p:sp>
      <p:sp>
        <p:nvSpPr>
          <p:cNvPr id="65" name="Rectangle 65">
            <a:extLst>
              <a:ext uri="{FF2B5EF4-FFF2-40B4-BE49-F238E27FC236}">
                <a16:creationId xmlns:a16="http://schemas.microsoft.com/office/drawing/2014/main" id="{74161795-2CBA-D674-D87D-4B9BDE696B2F}"/>
              </a:ext>
            </a:extLst>
          </p:cNvPr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1688467" y="3064889"/>
            <a:ext cx="56746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ZA" altLang="en-US" sz="900" i="1" dirty="0">
                <a:solidFill>
                  <a:srgbClr val="000000"/>
                </a:solidFill>
                <a:latin typeface="Tahoma"/>
              </a:rPr>
              <a:t>Kaalfontein</a:t>
            </a:r>
            <a:br>
              <a:rPr lang="en-ZA" altLang="en-US" sz="900" i="1" dirty="0">
                <a:solidFill>
                  <a:srgbClr val="000000"/>
                </a:solidFill>
                <a:latin typeface="Tahoma"/>
              </a:rPr>
            </a:br>
            <a:r>
              <a:rPr lang="en-ZA" altLang="en-US" sz="900" i="1" dirty="0">
                <a:solidFill>
                  <a:srgbClr val="000000"/>
                </a:solidFill>
                <a:latin typeface="Tahoma"/>
              </a:rPr>
              <a:t>Isando</a:t>
            </a:r>
          </a:p>
        </p:txBody>
      </p:sp>
      <p:sp>
        <p:nvSpPr>
          <p:cNvPr id="66" name="Rectangle 67">
            <a:extLst>
              <a:ext uri="{FF2B5EF4-FFF2-40B4-BE49-F238E27FC236}">
                <a16:creationId xmlns:a16="http://schemas.microsoft.com/office/drawing/2014/main" id="{428D3DDD-3065-2E09-1CF8-0DF210B76EA2}"/>
              </a:ext>
            </a:extLst>
          </p:cNvPr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1852654" y="4087348"/>
            <a:ext cx="5321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Kazerne </a:t>
            </a:r>
          </a:p>
          <a:p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City Deep</a:t>
            </a:r>
          </a:p>
        </p:txBody>
      </p:sp>
      <p:sp>
        <p:nvSpPr>
          <p:cNvPr id="67" name="Rectangle 73">
            <a:extLst>
              <a:ext uri="{FF2B5EF4-FFF2-40B4-BE49-F238E27FC236}">
                <a16:creationId xmlns:a16="http://schemas.microsoft.com/office/drawing/2014/main" id="{B621C1D9-7146-08BE-87F9-C4C60F4A3A64}"/>
              </a:ext>
            </a:extLst>
          </p:cNvPr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1905226" y="1463095"/>
            <a:ext cx="42319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i="1" dirty="0">
                <a:solidFill>
                  <a:srgbClr val="000000"/>
                </a:solidFill>
                <a:latin typeface="Tahoma"/>
              </a:rPr>
              <a:t>Pyramid</a:t>
            </a:r>
            <a:br>
              <a:rPr lang="en-ZA" altLang="en-US" sz="900" i="1" dirty="0">
                <a:solidFill>
                  <a:srgbClr val="000000"/>
                </a:solidFill>
                <a:latin typeface="Tahoma"/>
              </a:rPr>
            </a:br>
            <a:r>
              <a:rPr lang="en-ZA" altLang="en-US" sz="900" i="1" dirty="0">
                <a:solidFill>
                  <a:srgbClr val="000000"/>
                </a:solidFill>
                <a:latin typeface="Tahoma"/>
              </a:rPr>
              <a:t>South</a:t>
            </a:r>
          </a:p>
        </p:txBody>
      </p:sp>
      <p:sp>
        <p:nvSpPr>
          <p:cNvPr id="68" name="Rectangle 74">
            <a:extLst>
              <a:ext uri="{FF2B5EF4-FFF2-40B4-BE49-F238E27FC236}">
                <a16:creationId xmlns:a16="http://schemas.microsoft.com/office/drawing/2014/main" id="{F590206D-B04C-0D40-60CD-DB15A49417C4}"/>
              </a:ext>
            </a:extLst>
          </p:cNvPr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2556770" y="1641972"/>
            <a:ext cx="57066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i="1" dirty="0">
                <a:solidFill>
                  <a:srgbClr val="000000"/>
                </a:solidFill>
                <a:latin typeface="Tahoma"/>
              </a:rPr>
              <a:t>Sentrarand</a:t>
            </a:r>
          </a:p>
        </p:txBody>
      </p:sp>
      <p:sp>
        <p:nvSpPr>
          <p:cNvPr id="69" name="Rectangle 75">
            <a:extLst>
              <a:ext uri="{FF2B5EF4-FFF2-40B4-BE49-F238E27FC236}">
                <a16:creationId xmlns:a16="http://schemas.microsoft.com/office/drawing/2014/main" id="{EE9A4BA8-7C28-6A82-3BAE-5D90D4C61DAD}"/>
              </a:ext>
            </a:extLst>
          </p:cNvPr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6223765" y="3582105"/>
            <a:ext cx="61875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 err="1">
                <a:solidFill>
                  <a:srgbClr val="000000"/>
                </a:solidFill>
                <a:latin typeface="Tahoma"/>
              </a:rPr>
              <a:t>Harrismith</a:t>
            </a:r>
            <a:endParaRPr lang="en-ZA" altLang="en-US" sz="900" b="1" dirty="0">
              <a:solidFill>
                <a:srgbClr val="000000"/>
              </a:solidFill>
              <a:latin typeface="Tahoma"/>
            </a:endParaRPr>
          </a:p>
        </p:txBody>
      </p:sp>
      <p:sp>
        <p:nvSpPr>
          <p:cNvPr id="437" name="Rectangle 78">
            <a:extLst>
              <a:ext uri="{FF2B5EF4-FFF2-40B4-BE49-F238E27FC236}">
                <a16:creationId xmlns:a16="http://schemas.microsoft.com/office/drawing/2014/main" id="{BA63BDF9-EC95-FE14-14A0-0A5B9F8B54A4}"/>
              </a:ext>
            </a:extLst>
          </p:cNvPr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4089625" y="3024071"/>
            <a:ext cx="46807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dirty="0" err="1">
                <a:solidFill>
                  <a:srgbClr val="000000"/>
                </a:solidFill>
                <a:latin typeface="Tahoma"/>
              </a:rPr>
              <a:t>Rietvallei</a:t>
            </a:r>
            <a:endParaRPr lang="en-ZA" altLang="en-US" sz="900" dirty="0">
              <a:solidFill>
                <a:srgbClr val="000000"/>
              </a:solidFill>
              <a:latin typeface="Tahoma"/>
            </a:endParaRPr>
          </a:p>
        </p:txBody>
      </p:sp>
      <p:sp>
        <p:nvSpPr>
          <p:cNvPr id="438" name="Rectangle 79">
            <a:extLst>
              <a:ext uri="{FF2B5EF4-FFF2-40B4-BE49-F238E27FC236}">
                <a16:creationId xmlns:a16="http://schemas.microsoft.com/office/drawing/2014/main" id="{7026371B-ECD3-5F65-7FAF-EB5F628B002B}"/>
              </a:ext>
            </a:extLst>
          </p:cNvPr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5962151" y="2981639"/>
            <a:ext cx="5642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Newcastle</a:t>
            </a:r>
          </a:p>
        </p:txBody>
      </p:sp>
      <p:sp>
        <p:nvSpPr>
          <p:cNvPr id="439" name="Rectangle 80">
            <a:extLst>
              <a:ext uri="{FF2B5EF4-FFF2-40B4-BE49-F238E27FC236}">
                <a16:creationId xmlns:a16="http://schemas.microsoft.com/office/drawing/2014/main" id="{7F42C6E3-239D-2713-AFBE-4C1203F0F8B6}"/>
              </a:ext>
            </a:extLst>
          </p:cNvPr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5171686" y="3399317"/>
            <a:ext cx="59311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 err="1">
                <a:solidFill>
                  <a:srgbClr val="000000"/>
                </a:solidFill>
                <a:latin typeface="Tahoma"/>
              </a:rPr>
              <a:t>Vooruitsig</a:t>
            </a:r>
            <a:endParaRPr lang="en-ZA" altLang="en-US" sz="900" b="1" dirty="0">
              <a:solidFill>
                <a:srgbClr val="000000"/>
              </a:solidFill>
              <a:latin typeface="Tahoma"/>
            </a:endParaRPr>
          </a:p>
        </p:txBody>
      </p:sp>
      <p:sp>
        <p:nvSpPr>
          <p:cNvPr id="440" name="Rectangle 81">
            <a:extLst>
              <a:ext uri="{FF2B5EF4-FFF2-40B4-BE49-F238E27FC236}">
                <a16:creationId xmlns:a16="http://schemas.microsoft.com/office/drawing/2014/main" id="{EBF33A48-EA98-544C-80A3-B7DF0CCED64E}"/>
              </a:ext>
            </a:extLst>
          </p:cNvPr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6102669" y="4585592"/>
            <a:ext cx="108363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Kroonstad (Gunhill)</a:t>
            </a:r>
          </a:p>
        </p:txBody>
      </p:sp>
      <p:sp>
        <p:nvSpPr>
          <p:cNvPr id="441" name="Rectangle 82">
            <a:extLst>
              <a:ext uri="{FF2B5EF4-FFF2-40B4-BE49-F238E27FC236}">
                <a16:creationId xmlns:a16="http://schemas.microsoft.com/office/drawing/2014/main" id="{59D9FB16-8FEC-90BB-2144-A993D7D322E7}"/>
              </a:ext>
            </a:extLst>
          </p:cNvPr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6224520" y="2077605"/>
            <a:ext cx="530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 err="1">
                <a:solidFill>
                  <a:srgbClr val="000000"/>
                </a:solidFill>
                <a:latin typeface="Tahoma"/>
              </a:rPr>
              <a:t>Stilwater</a:t>
            </a:r>
            <a:endParaRPr lang="en-ZA" altLang="en-US" sz="900" b="1" dirty="0">
              <a:solidFill>
                <a:srgbClr val="000000"/>
              </a:solidFill>
              <a:latin typeface="Tahoma"/>
            </a:endParaRPr>
          </a:p>
        </p:txBody>
      </p:sp>
      <p:sp>
        <p:nvSpPr>
          <p:cNvPr id="442" name="Rectangle 83">
            <a:extLst>
              <a:ext uri="{FF2B5EF4-FFF2-40B4-BE49-F238E27FC236}">
                <a16:creationId xmlns:a16="http://schemas.microsoft.com/office/drawing/2014/main" id="{40AC9DCC-C544-5089-8779-D6CDEE899BA2}"/>
              </a:ext>
            </a:extLst>
          </p:cNvPr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6429481" y="3335943"/>
            <a:ext cx="42960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dirty="0">
                <a:solidFill>
                  <a:srgbClr val="000000"/>
                </a:solidFill>
                <a:latin typeface="Tahoma"/>
              </a:rPr>
              <a:t>Glencoe</a:t>
            </a:r>
          </a:p>
        </p:txBody>
      </p:sp>
      <p:sp>
        <p:nvSpPr>
          <p:cNvPr id="443" name="Rectangle 85">
            <a:extLst>
              <a:ext uri="{FF2B5EF4-FFF2-40B4-BE49-F238E27FC236}">
                <a16:creationId xmlns:a16="http://schemas.microsoft.com/office/drawing/2014/main" id="{76740D53-897E-82FC-6AB1-2DAAA8C9CDEB}"/>
              </a:ext>
            </a:extLst>
          </p:cNvPr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6759036" y="2864800"/>
            <a:ext cx="65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Danskraal</a:t>
            </a:r>
            <a:br>
              <a:rPr lang="en-ZA" altLang="en-US" sz="900" b="1" dirty="0">
                <a:solidFill>
                  <a:srgbClr val="000000"/>
                </a:solidFill>
                <a:latin typeface="Tahoma"/>
              </a:rPr>
            </a:br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(Ladysmith)</a:t>
            </a:r>
          </a:p>
        </p:txBody>
      </p:sp>
      <p:sp>
        <p:nvSpPr>
          <p:cNvPr id="444" name="Rectangle 86">
            <a:extLst>
              <a:ext uri="{FF2B5EF4-FFF2-40B4-BE49-F238E27FC236}">
                <a16:creationId xmlns:a16="http://schemas.microsoft.com/office/drawing/2014/main" id="{B569FDAF-76F8-6C17-0E2D-D80102ED64CE}"/>
              </a:ext>
            </a:extLst>
          </p:cNvPr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7226229" y="3391289"/>
            <a:ext cx="83997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dirty="0">
                <a:solidFill>
                  <a:srgbClr val="000000"/>
                </a:solidFill>
                <a:latin typeface="Tahoma"/>
              </a:rPr>
              <a:t>Pietermaritzburg</a:t>
            </a:r>
          </a:p>
        </p:txBody>
      </p:sp>
      <p:sp>
        <p:nvSpPr>
          <p:cNvPr id="445" name="Rectangle 87">
            <a:extLst>
              <a:ext uri="{FF2B5EF4-FFF2-40B4-BE49-F238E27FC236}">
                <a16:creationId xmlns:a16="http://schemas.microsoft.com/office/drawing/2014/main" id="{11B96BB0-B097-889C-65A0-A5EC82352712}"/>
              </a:ext>
            </a:extLst>
          </p:cNvPr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8746071" y="3230531"/>
            <a:ext cx="3414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Booth</a:t>
            </a:r>
          </a:p>
        </p:txBody>
      </p:sp>
      <p:sp>
        <p:nvSpPr>
          <p:cNvPr id="446" name="Rectangle 88">
            <a:extLst>
              <a:ext uri="{FF2B5EF4-FFF2-40B4-BE49-F238E27FC236}">
                <a16:creationId xmlns:a16="http://schemas.microsoft.com/office/drawing/2014/main" id="{3F3C5869-4EBD-A5DC-CAB2-932E7A3CC247}"/>
              </a:ext>
            </a:extLst>
          </p:cNvPr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7666092" y="2850222"/>
            <a:ext cx="33182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Cato </a:t>
            </a:r>
            <a:br>
              <a:rPr lang="en-ZA" altLang="en-US" sz="900" b="1" dirty="0">
                <a:solidFill>
                  <a:srgbClr val="000000"/>
                </a:solidFill>
                <a:latin typeface="Tahoma"/>
              </a:rPr>
            </a:br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Ridge</a:t>
            </a:r>
          </a:p>
        </p:txBody>
      </p:sp>
      <p:sp>
        <p:nvSpPr>
          <p:cNvPr id="447" name="Rectangle 89">
            <a:extLst>
              <a:ext uri="{FF2B5EF4-FFF2-40B4-BE49-F238E27FC236}">
                <a16:creationId xmlns:a16="http://schemas.microsoft.com/office/drawing/2014/main" id="{A8AC4D11-CF4A-6113-8141-BD84C512ACB2}"/>
              </a:ext>
            </a:extLst>
          </p:cNvPr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8489502" y="3819575"/>
            <a:ext cx="61555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dirty="0">
                <a:solidFill>
                  <a:srgbClr val="000000"/>
                </a:solidFill>
                <a:latin typeface="Tahoma"/>
              </a:rPr>
              <a:t>Racecourse</a:t>
            </a:r>
          </a:p>
        </p:txBody>
      </p:sp>
      <p:sp>
        <p:nvSpPr>
          <p:cNvPr id="448" name="Rectangle 90">
            <a:extLst>
              <a:ext uri="{FF2B5EF4-FFF2-40B4-BE49-F238E27FC236}">
                <a16:creationId xmlns:a16="http://schemas.microsoft.com/office/drawing/2014/main" id="{9A52BDC4-FFE9-28A0-63F1-CDDF0ECED1F7}"/>
              </a:ext>
            </a:extLst>
          </p:cNvPr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8971608" y="2126197"/>
            <a:ext cx="40395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>
                <a:solidFill>
                  <a:srgbClr val="000000"/>
                </a:solidFill>
                <a:latin typeface="Tahoma"/>
              </a:rPr>
              <a:t>Durban</a:t>
            </a:r>
          </a:p>
          <a:p>
            <a:r>
              <a:rPr lang="en-ZA" altLang="en-US" sz="900" b="1">
                <a:solidFill>
                  <a:srgbClr val="000000"/>
                </a:solidFill>
                <a:latin typeface="Tahoma"/>
              </a:rPr>
              <a:t>Station</a:t>
            </a:r>
          </a:p>
        </p:txBody>
      </p:sp>
      <p:sp>
        <p:nvSpPr>
          <p:cNvPr id="449" name="Rectangle 91">
            <a:extLst>
              <a:ext uri="{FF2B5EF4-FFF2-40B4-BE49-F238E27FC236}">
                <a16:creationId xmlns:a16="http://schemas.microsoft.com/office/drawing/2014/main" id="{60795C99-2007-358C-3367-40E0A15B1A78}"/>
              </a:ext>
            </a:extLst>
          </p:cNvPr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9664858" y="2126197"/>
            <a:ext cx="28854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2060"/>
                </a:solidFill>
                <a:latin typeface="Tahoma"/>
              </a:rPr>
              <a:t>Point</a:t>
            </a:r>
          </a:p>
        </p:txBody>
      </p:sp>
      <p:sp>
        <p:nvSpPr>
          <p:cNvPr id="450" name="Rectangle 93">
            <a:extLst>
              <a:ext uri="{FF2B5EF4-FFF2-40B4-BE49-F238E27FC236}">
                <a16:creationId xmlns:a16="http://schemas.microsoft.com/office/drawing/2014/main" id="{146DEE0A-56DD-D34A-8D92-722985EA4CF9}"/>
              </a:ext>
            </a:extLst>
          </p:cNvPr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10356951" y="2928662"/>
            <a:ext cx="42764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2060"/>
                </a:solidFill>
                <a:latin typeface="Tahoma"/>
              </a:rPr>
              <a:t>Durban </a:t>
            </a:r>
          </a:p>
          <a:p>
            <a:r>
              <a:rPr lang="en-ZA" altLang="en-US" sz="900" b="1" dirty="0">
                <a:solidFill>
                  <a:srgbClr val="002060"/>
                </a:solidFill>
                <a:latin typeface="Tahoma"/>
              </a:rPr>
              <a:t>Goods</a:t>
            </a:r>
          </a:p>
        </p:txBody>
      </p:sp>
      <p:sp>
        <p:nvSpPr>
          <p:cNvPr id="451" name="Rectangle 94">
            <a:extLst>
              <a:ext uri="{FF2B5EF4-FFF2-40B4-BE49-F238E27FC236}">
                <a16:creationId xmlns:a16="http://schemas.microsoft.com/office/drawing/2014/main" id="{C1965064-282A-4F11-0CA9-5D510805544B}"/>
              </a:ext>
            </a:extLst>
          </p:cNvPr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8595409" y="3614528"/>
            <a:ext cx="49379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ZA" altLang="en-US" sz="900" dirty="0">
                <a:solidFill>
                  <a:srgbClr val="000000"/>
                </a:solidFill>
                <a:latin typeface="Tahoma"/>
              </a:rPr>
              <a:t>Rossburg</a:t>
            </a:r>
          </a:p>
          <a:p>
            <a:pPr algn="r"/>
            <a:endParaRPr lang="en-US" altLang="en-US" sz="900" dirty="0">
              <a:solidFill>
                <a:srgbClr val="000000"/>
              </a:solidFill>
              <a:latin typeface="Tahoma"/>
            </a:endParaRPr>
          </a:p>
          <a:p>
            <a:pPr algn="r"/>
            <a:endParaRPr lang="en-ZA" altLang="en-US" sz="900" dirty="0">
              <a:solidFill>
                <a:srgbClr val="000000"/>
              </a:solidFill>
              <a:latin typeface="Tahoma"/>
            </a:endParaRPr>
          </a:p>
          <a:p>
            <a:pPr algn="r"/>
            <a:r>
              <a:rPr lang="en-ZA" altLang="en-US" sz="900" dirty="0">
                <a:solidFill>
                  <a:srgbClr val="000000"/>
                </a:solidFill>
                <a:latin typeface="Tahoma"/>
              </a:rPr>
              <a:t>Umbilo </a:t>
            </a:r>
          </a:p>
        </p:txBody>
      </p:sp>
      <p:sp>
        <p:nvSpPr>
          <p:cNvPr id="452" name="Rectangle 95">
            <a:extLst>
              <a:ext uri="{FF2B5EF4-FFF2-40B4-BE49-F238E27FC236}">
                <a16:creationId xmlns:a16="http://schemas.microsoft.com/office/drawing/2014/main" id="{928239A4-8B35-0B84-629E-21FE196A68FB}"/>
              </a:ext>
            </a:extLst>
          </p:cNvPr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9285839" y="3399317"/>
            <a:ext cx="49693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2060"/>
                </a:solidFill>
                <a:latin typeface="Tahoma"/>
              </a:rPr>
              <a:t>Bayhead</a:t>
            </a:r>
          </a:p>
        </p:txBody>
      </p:sp>
      <p:sp>
        <p:nvSpPr>
          <p:cNvPr id="453" name="Rectangle 96">
            <a:extLst>
              <a:ext uri="{FF2B5EF4-FFF2-40B4-BE49-F238E27FC236}">
                <a16:creationId xmlns:a16="http://schemas.microsoft.com/office/drawing/2014/main" id="{AEE3CE13-4E50-4FE6-3695-A2B4EC306F3E}"/>
              </a:ext>
            </a:extLst>
          </p:cNvPr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8929494" y="4163836"/>
            <a:ext cx="4424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Isipingo</a:t>
            </a:r>
          </a:p>
        </p:txBody>
      </p:sp>
      <p:sp>
        <p:nvSpPr>
          <p:cNvPr id="454" name="Rectangle 97">
            <a:extLst>
              <a:ext uri="{FF2B5EF4-FFF2-40B4-BE49-F238E27FC236}">
                <a16:creationId xmlns:a16="http://schemas.microsoft.com/office/drawing/2014/main" id="{749C154A-FA3D-CFE7-989F-A8EAC3ECC70F}"/>
              </a:ext>
            </a:extLst>
          </p:cNvPr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10277121" y="4053694"/>
            <a:ext cx="530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2060"/>
                </a:solidFill>
                <a:latin typeface="Tahoma"/>
              </a:rPr>
              <a:t>Fynnland</a:t>
            </a:r>
          </a:p>
        </p:txBody>
      </p:sp>
      <p:sp>
        <p:nvSpPr>
          <p:cNvPr id="455" name="Rectangle 98">
            <a:extLst>
              <a:ext uri="{FF2B5EF4-FFF2-40B4-BE49-F238E27FC236}">
                <a16:creationId xmlns:a16="http://schemas.microsoft.com/office/drawing/2014/main" id="{2ACC20A9-23C9-5BA7-66B3-DC9973DADE36}"/>
              </a:ext>
            </a:extLst>
          </p:cNvPr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10277122" y="4594688"/>
            <a:ext cx="61555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2060"/>
                </a:solidFill>
                <a:latin typeface="Tahoma"/>
              </a:rPr>
              <a:t>Island view</a:t>
            </a:r>
          </a:p>
        </p:txBody>
      </p:sp>
      <p:sp>
        <p:nvSpPr>
          <p:cNvPr id="456" name="Rectangle 99">
            <a:extLst>
              <a:ext uri="{FF2B5EF4-FFF2-40B4-BE49-F238E27FC236}">
                <a16:creationId xmlns:a16="http://schemas.microsoft.com/office/drawing/2014/main" id="{7F973D98-63D0-5A7B-F791-496F449571F4}"/>
              </a:ext>
            </a:extLst>
          </p:cNvPr>
          <p:cNvSpPr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10277122" y="5070893"/>
            <a:ext cx="33983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2060"/>
                </a:solidFill>
                <a:latin typeface="Tahoma"/>
              </a:rPr>
              <a:t>Wests</a:t>
            </a:r>
          </a:p>
        </p:txBody>
      </p:sp>
      <p:sp>
        <p:nvSpPr>
          <p:cNvPr id="457" name="Rectangle 100">
            <a:extLst>
              <a:ext uri="{FF2B5EF4-FFF2-40B4-BE49-F238E27FC236}">
                <a16:creationId xmlns:a16="http://schemas.microsoft.com/office/drawing/2014/main" id="{3E01BCB5-FCAC-6315-E006-D50D03672479}"/>
              </a:ext>
            </a:extLst>
          </p:cNvPr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10035759" y="3652381"/>
            <a:ext cx="64601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2060"/>
                </a:solidFill>
                <a:latin typeface="Tahoma"/>
              </a:rPr>
              <a:t>King’s Rest</a:t>
            </a:r>
          </a:p>
        </p:txBody>
      </p:sp>
      <p:sp>
        <p:nvSpPr>
          <p:cNvPr id="458" name="AutoShape 104">
            <a:extLst>
              <a:ext uri="{FF2B5EF4-FFF2-40B4-BE49-F238E27FC236}">
                <a16:creationId xmlns:a16="http://schemas.microsoft.com/office/drawing/2014/main" id="{FF10B069-D000-33E7-7397-57102F8EF582}"/>
              </a:ext>
            </a:extLst>
          </p:cNvPr>
          <p:cNvSpPr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8506740" y="3237343"/>
            <a:ext cx="139298" cy="119861"/>
          </a:xfrm>
          <a:prstGeom prst="flowChartExtra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sp>
        <p:nvSpPr>
          <p:cNvPr id="459" name="AutoShape 107">
            <a:extLst>
              <a:ext uri="{FF2B5EF4-FFF2-40B4-BE49-F238E27FC236}">
                <a16:creationId xmlns:a16="http://schemas.microsoft.com/office/drawing/2014/main" id="{B72126F7-CCAF-8084-347B-C08AC27275B8}"/>
              </a:ext>
            </a:extLst>
          </p:cNvPr>
          <p:cNvSpPr>
            <a:spLocks noChangeArrowheads="1"/>
          </p:cNvSpPr>
          <p:nvPr>
            <p:custDataLst>
              <p:tags r:id="rId55"/>
            </p:custDataLst>
          </p:nvPr>
        </p:nvSpPr>
        <p:spPr bwMode="gray">
          <a:xfrm>
            <a:off x="6998758" y="3237343"/>
            <a:ext cx="139298" cy="119861"/>
          </a:xfrm>
          <a:prstGeom prst="flowChartExtra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sp>
        <p:nvSpPr>
          <p:cNvPr id="460" name="Oval 459">
            <a:extLst>
              <a:ext uri="{FF2B5EF4-FFF2-40B4-BE49-F238E27FC236}">
                <a16:creationId xmlns:a16="http://schemas.microsoft.com/office/drawing/2014/main" id="{B5609383-43D8-BD96-3EC5-92A998997AEE}"/>
              </a:ext>
            </a:extLst>
          </p:cNvPr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7829686" y="3269736"/>
            <a:ext cx="77748" cy="7774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sp>
        <p:nvSpPr>
          <p:cNvPr id="461" name="Line 114">
            <a:extLst>
              <a:ext uri="{FF2B5EF4-FFF2-40B4-BE49-F238E27FC236}">
                <a16:creationId xmlns:a16="http://schemas.microsoft.com/office/drawing/2014/main" id="{28F78DA8-0E3A-4A8E-A453-7910069FB165}"/>
              </a:ext>
            </a:extLst>
          </p:cNvPr>
          <p:cNvSpPr>
            <a:spLocks noChangeShapeType="1"/>
          </p:cNvSpPr>
          <p:nvPr>
            <p:custDataLst>
              <p:tags r:id="rId57"/>
            </p:custDataLst>
          </p:nvPr>
        </p:nvSpPr>
        <p:spPr bwMode="gray">
          <a:xfrm flipV="1">
            <a:off x="2462208" y="1876939"/>
            <a:ext cx="296462" cy="94574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62" name="Rectangle 461">
            <a:extLst>
              <a:ext uri="{FF2B5EF4-FFF2-40B4-BE49-F238E27FC236}">
                <a16:creationId xmlns:a16="http://schemas.microsoft.com/office/drawing/2014/main" id="{40D0BA21-7283-7104-59E3-3A10E6C46B7C}"/>
              </a:ext>
            </a:extLst>
          </p:cNvPr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3347584" y="3025039"/>
            <a:ext cx="53219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dirty="0">
                <a:solidFill>
                  <a:srgbClr val="000000"/>
                </a:solidFill>
                <a:latin typeface="Tahoma"/>
              </a:rPr>
              <a:t>Germiston</a:t>
            </a:r>
          </a:p>
        </p:txBody>
      </p:sp>
      <p:sp>
        <p:nvSpPr>
          <p:cNvPr id="463" name="Oval 143">
            <a:extLst>
              <a:ext uri="{FF2B5EF4-FFF2-40B4-BE49-F238E27FC236}">
                <a16:creationId xmlns:a16="http://schemas.microsoft.com/office/drawing/2014/main" id="{0060BDD1-C966-A2BE-22BF-968C49385519}"/>
              </a:ext>
            </a:extLst>
          </p:cNvPr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1845335" y="2309138"/>
            <a:ext cx="109415" cy="123277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sp>
        <p:nvSpPr>
          <p:cNvPr id="464" name="Rectangle 144">
            <a:extLst>
              <a:ext uri="{FF2B5EF4-FFF2-40B4-BE49-F238E27FC236}">
                <a16:creationId xmlns:a16="http://schemas.microsoft.com/office/drawing/2014/main" id="{E7F59235-6AAF-32CA-6F4D-A1A617211C6F}"/>
              </a:ext>
            </a:extLst>
          </p:cNvPr>
          <p:cNvSpPr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1312730" y="2355655"/>
            <a:ext cx="5549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i="1" dirty="0">
                <a:solidFill>
                  <a:srgbClr val="000000"/>
                </a:solidFill>
                <a:latin typeface="Tahoma"/>
              </a:rPr>
              <a:t>Capital Park</a:t>
            </a:r>
          </a:p>
        </p:txBody>
      </p:sp>
      <p:sp>
        <p:nvSpPr>
          <p:cNvPr id="465" name="Oval 147">
            <a:extLst>
              <a:ext uri="{FF2B5EF4-FFF2-40B4-BE49-F238E27FC236}">
                <a16:creationId xmlns:a16="http://schemas.microsoft.com/office/drawing/2014/main" id="{E527C42B-D5DC-58BF-9B14-4963AF38C3A0}"/>
              </a:ext>
            </a:extLst>
          </p:cNvPr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6861079" y="3864183"/>
            <a:ext cx="72889" cy="72889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sp>
        <p:nvSpPr>
          <p:cNvPr id="466" name="Rectangle 148">
            <a:extLst>
              <a:ext uri="{FF2B5EF4-FFF2-40B4-BE49-F238E27FC236}">
                <a16:creationId xmlns:a16="http://schemas.microsoft.com/office/drawing/2014/main" id="{626D6053-1319-4A00-9E03-DF82D19C45BC}"/>
              </a:ext>
            </a:extLst>
          </p:cNvPr>
          <p:cNvSpPr>
            <a:spLocks noChangeArrowheads="1"/>
          </p:cNvSpPr>
          <p:nvPr>
            <p:custDataLst>
              <p:tags r:id="rId62"/>
            </p:custDataLst>
          </p:nvPr>
        </p:nvSpPr>
        <p:spPr bwMode="gray">
          <a:xfrm>
            <a:off x="6960586" y="3990886"/>
            <a:ext cx="7483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Bethlehem</a:t>
            </a:r>
          </a:p>
        </p:txBody>
      </p:sp>
      <p:sp>
        <p:nvSpPr>
          <p:cNvPr id="467" name="Line 56">
            <a:extLst>
              <a:ext uri="{FF2B5EF4-FFF2-40B4-BE49-F238E27FC236}">
                <a16:creationId xmlns:a16="http://schemas.microsoft.com/office/drawing/2014/main" id="{D75895C5-73B6-8FE5-6DCE-F8EB253AF733}"/>
              </a:ext>
            </a:extLst>
          </p:cNvPr>
          <p:cNvSpPr>
            <a:spLocks noChangeShapeType="1"/>
          </p:cNvSpPr>
          <p:nvPr>
            <p:custDataLst>
              <p:tags r:id="rId63"/>
            </p:custDataLst>
          </p:nvPr>
        </p:nvSpPr>
        <p:spPr bwMode="gray">
          <a:xfrm>
            <a:off x="9515841" y="3639037"/>
            <a:ext cx="289934" cy="562052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68" name="Rectangle 96">
            <a:extLst>
              <a:ext uri="{FF2B5EF4-FFF2-40B4-BE49-F238E27FC236}">
                <a16:creationId xmlns:a16="http://schemas.microsoft.com/office/drawing/2014/main" id="{864B99BF-0ACB-D0FE-887D-C11CA671CB08}"/>
              </a:ext>
            </a:extLst>
          </p:cNvPr>
          <p:cNvSpPr>
            <a:spLocks noChangeArrowheads="1"/>
          </p:cNvSpPr>
          <p:nvPr>
            <p:custDataLst>
              <p:tags r:id="rId64"/>
            </p:custDataLst>
          </p:nvPr>
        </p:nvSpPr>
        <p:spPr bwMode="gray">
          <a:xfrm>
            <a:off x="9538578" y="4238034"/>
            <a:ext cx="55944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900" dirty="0">
                <a:solidFill>
                  <a:srgbClr val="000000"/>
                </a:solidFill>
                <a:latin typeface="Tahoma"/>
              </a:rPr>
              <a:t>Wentworth</a:t>
            </a:r>
            <a:endParaRPr lang="en-ZA" altLang="en-US" sz="900" dirty="0">
              <a:solidFill>
                <a:srgbClr val="000000"/>
              </a:solidFill>
              <a:latin typeface="Tahoma"/>
            </a:endParaRPr>
          </a:p>
        </p:txBody>
      </p:sp>
      <p:sp>
        <p:nvSpPr>
          <p:cNvPr id="469" name="Rectangle 214">
            <a:extLst>
              <a:ext uri="{FF2B5EF4-FFF2-40B4-BE49-F238E27FC236}">
                <a16:creationId xmlns:a16="http://schemas.microsoft.com/office/drawing/2014/main" id="{9FFC038B-7658-D10F-5AE1-3A9A88E0835F}"/>
              </a:ext>
            </a:extLst>
          </p:cNvPr>
          <p:cNvSpPr>
            <a:spLocks noChangeArrowheads="1"/>
          </p:cNvSpPr>
          <p:nvPr>
            <p:custDataLst>
              <p:tags r:id="rId65"/>
            </p:custDataLst>
          </p:nvPr>
        </p:nvSpPr>
        <p:spPr bwMode="gray">
          <a:xfrm>
            <a:off x="9514268" y="4304988"/>
            <a:ext cx="310991" cy="28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87" tIns="0" rIns="3887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ZA" altLang="en-US" sz="1224" b="1" dirty="0">
              <a:solidFill>
                <a:srgbClr val="000000"/>
              </a:solidFill>
            </a:endParaRPr>
          </a:p>
        </p:txBody>
      </p:sp>
      <p:sp>
        <p:nvSpPr>
          <p:cNvPr id="470" name="Rectangle 96">
            <a:extLst>
              <a:ext uri="{FF2B5EF4-FFF2-40B4-BE49-F238E27FC236}">
                <a16:creationId xmlns:a16="http://schemas.microsoft.com/office/drawing/2014/main" id="{BB02D24B-C00A-2497-CBF1-100FB58A4E12}"/>
              </a:ext>
            </a:extLst>
          </p:cNvPr>
          <p:cNvSpPr>
            <a:spLocks noChangeArrowheads="1"/>
          </p:cNvSpPr>
          <p:nvPr>
            <p:custDataLst>
              <p:tags r:id="rId66"/>
            </p:custDataLst>
          </p:nvPr>
        </p:nvSpPr>
        <p:spPr bwMode="gray">
          <a:xfrm>
            <a:off x="8971608" y="5487282"/>
            <a:ext cx="88646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900" b="1" dirty="0">
                <a:solidFill>
                  <a:srgbClr val="000000"/>
                </a:solidFill>
                <a:latin typeface="Tahoma"/>
              </a:rPr>
              <a:t>Port Shepstone</a:t>
            </a:r>
            <a:endParaRPr lang="en-ZA" altLang="en-US" sz="900" b="1" dirty="0">
              <a:solidFill>
                <a:srgbClr val="000000"/>
              </a:solidFill>
              <a:latin typeface="Tahoma"/>
            </a:endParaRPr>
          </a:p>
        </p:txBody>
      </p:sp>
      <p:sp>
        <p:nvSpPr>
          <p:cNvPr id="471" name="Line 56">
            <a:extLst>
              <a:ext uri="{FF2B5EF4-FFF2-40B4-BE49-F238E27FC236}">
                <a16:creationId xmlns:a16="http://schemas.microsoft.com/office/drawing/2014/main" id="{139A70E2-44BA-49A0-15EC-DFEA895B00DB}"/>
              </a:ext>
            </a:extLst>
          </p:cNvPr>
          <p:cNvSpPr>
            <a:spLocks noChangeShapeType="1"/>
          </p:cNvSpPr>
          <p:nvPr>
            <p:custDataLst>
              <p:tags r:id="rId67"/>
            </p:custDataLst>
          </p:nvPr>
        </p:nvSpPr>
        <p:spPr bwMode="gray">
          <a:xfrm>
            <a:off x="9455970" y="4198152"/>
            <a:ext cx="14519" cy="765636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72" name="TextBox 471">
            <a:extLst>
              <a:ext uri="{FF2B5EF4-FFF2-40B4-BE49-F238E27FC236}">
                <a16:creationId xmlns:a16="http://schemas.microsoft.com/office/drawing/2014/main" id="{D825C5CD-74DF-A5F4-B68E-A145D0FC3B58}"/>
              </a:ext>
            </a:extLst>
          </p:cNvPr>
          <p:cNvSpPr txBox="1"/>
          <p:nvPr/>
        </p:nvSpPr>
        <p:spPr>
          <a:xfrm>
            <a:off x="8666497" y="4306620"/>
            <a:ext cx="825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000000"/>
                </a:solidFill>
              </a:rPr>
              <a:t>Isipingo Car Terminal</a:t>
            </a:r>
            <a:endParaRPr lang="en-ZA" sz="700" dirty="0">
              <a:solidFill>
                <a:srgbClr val="000000"/>
              </a:solidFill>
            </a:endParaRPr>
          </a:p>
        </p:txBody>
      </p:sp>
      <p:sp>
        <p:nvSpPr>
          <p:cNvPr id="473" name="Rectangle 96">
            <a:extLst>
              <a:ext uri="{FF2B5EF4-FFF2-40B4-BE49-F238E27FC236}">
                <a16:creationId xmlns:a16="http://schemas.microsoft.com/office/drawing/2014/main" id="{679C6AB2-9192-933D-AF76-1118C606D129}"/>
              </a:ext>
            </a:extLst>
          </p:cNvPr>
          <p:cNvSpPr>
            <a:spLocks noChangeArrowheads="1"/>
          </p:cNvSpPr>
          <p:nvPr>
            <p:custDataLst>
              <p:tags r:id="rId68"/>
            </p:custDataLst>
          </p:nvPr>
        </p:nvSpPr>
        <p:spPr bwMode="gray">
          <a:xfrm>
            <a:off x="8801710" y="4935233"/>
            <a:ext cx="58349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900" dirty="0">
                <a:solidFill>
                  <a:srgbClr val="000000"/>
                </a:solidFill>
                <a:latin typeface="Tahoma"/>
              </a:rPr>
              <a:t>Umkomaas</a:t>
            </a:r>
            <a:endParaRPr lang="en-ZA" altLang="en-US" sz="900" dirty="0">
              <a:solidFill>
                <a:srgbClr val="000000"/>
              </a:solidFill>
              <a:latin typeface="Tahoma"/>
            </a:endParaRPr>
          </a:p>
        </p:txBody>
      </p:sp>
      <p:sp>
        <p:nvSpPr>
          <p:cNvPr id="474" name="Line 56">
            <a:extLst>
              <a:ext uri="{FF2B5EF4-FFF2-40B4-BE49-F238E27FC236}">
                <a16:creationId xmlns:a16="http://schemas.microsoft.com/office/drawing/2014/main" id="{D8A6F8C9-E0CB-3B97-6B07-123ED5BC3377}"/>
              </a:ext>
            </a:extLst>
          </p:cNvPr>
          <p:cNvSpPr>
            <a:spLocks noChangeShapeType="1"/>
          </p:cNvSpPr>
          <p:nvPr>
            <p:custDataLst>
              <p:tags r:id="rId69"/>
            </p:custDataLst>
          </p:nvPr>
        </p:nvSpPr>
        <p:spPr bwMode="gray">
          <a:xfrm>
            <a:off x="9452670" y="5015484"/>
            <a:ext cx="17818" cy="433391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75" name="Line 55">
            <a:extLst>
              <a:ext uri="{FF2B5EF4-FFF2-40B4-BE49-F238E27FC236}">
                <a16:creationId xmlns:a16="http://schemas.microsoft.com/office/drawing/2014/main" id="{CB679C3A-B02B-D956-8154-CAD54CBC08B1}"/>
              </a:ext>
            </a:extLst>
          </p:cNvPr>
          <p:cNvSpPr>
            <a:spLocks noChangeShapeType="1"/>
          </p:cNvSpPr>
          <p:nvPr>
            <p:custDataLst>
              <p:tags r:id="rId70"/>
            </p:custDataLst>
          </p:nvPr>
        </p:nvSpPr>
        <p:spPr bwMode="gray">
          <a:xfrm flipV="1">
            <a:off x="9892207" y="1982706"/>
            <a:ext cx="483702" cy="896712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76" name="Rectangle 96">
            <a:extLst>
              <a:ext uri="{FF2B5EF4-FFF2-40B4-BE49-F238E27FC236}">
                <a16:creationId xmlns:a16="http://schemas.microsoft.com/office/drawing/2014/main" id="{B95EF0AD-4031-A642-59EC-64C96C8A8968}"/>
              </a:ext>
            </a:extLst>
          </p:cNvPr>
          <p:cNvSpPr>
            <a:spLocks noChangeArrowheads="1"/>
          </p:cNvSpPr>
          <p:nvPr>
            <p:custDataLst>
              <p:tags r:id="rId71"/>
            </p:custDataLst>
          </p:nvPr>
        </p:nvSpPr>
        <p:spPr bwMode="gray">
          <a:xfrm>
            <a:off x="9881179" y="1766065"/>
            <a:ext cx="42960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Stanger</a:t>
            </a:r>
          </a:p>
        </p:txBody>
      </p:sp>
      <p:sp>
        <p:nvSpPr>
          <p:cNvPr id="477" name="Rectangle 92">
            <a:extLst>
              <a:ext uri="{FF2B5EF4-FFF2-40B4-BE49-F238E27FC236}">
                <a16:creationId xmlns:a16="http://schemas.microsoft.com/office/drawing/2014/main" id="{07E81417-8FE7-4E9A-D553-1E32BE4A341A}"/>
              </a:ext>
            </a:extLst>
          </p:cNvPr>
          <p:cNvSpPr>
            <a:spLocks noChangeArrowheads="1"/>
          </p:cNvSpPr>
          <p:nvPr>
            <p:custDataLst>
              <p:tags r:id="rId72"/>
            </p:custDataLst>
          </p:nvPr>
        </p:nvSpPr>
        <p:spPr bwMode="gray">
          <a:xfrm>
            <a:off x="10235824" y="2695893"/>
            <a:ext cx="111937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2060"/>
                </a:solidFill>
                <a:latin typeface="Tahoma"/>
              </a:rPr>
              <a:t>Maydon Wharf</a:t>
            </a:r>
          </a:p>
        </p:txBody>
      </p:sp>
      <p:sp>
        <p:nvSpPr>
          <p:cNvPr id="478" name="Rectangle 96">
            <a:extLst>
              <a:ext uri="{FF2B5EF4-FFF2-40B4-BE49-F238E27FC236}">
                <a16:creationId xmlns:a16="http://schemas.microsoft.com/office/drawing/2014/main" id="{0DA13E69-A476-8521-EE9A-D6DA1FB66136}"/>
              </a:ext>
            </a:extLst>
          </p:cNvPr>
          <p:cNvSpPr>
            <a:spLocks noChangeArrowheads="1"/>
          </p:cNvSpPr>
          <p:nvPr>
            <p:custDataLst>
              <p:tags r:id="rId73"/>
            </p:custDataLst>
          </p:nvPr>
        </p:nvSpPr>
        <p:spPr bwMode="gray">
          <a:xfrm>
            <a:off x="10042760" y="1420990"/>
            <a:ext cx="63294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Mandini</a:t>
            </a:r>
          </a:p>
        </p:txBody>
      </p:sp>
      <p:sp>
        <p:nvSpPr>
          <p:cNvPr id="479" name="Line 55">
            <a:extLst>
              <a:ext uri="{FF2B5EF4-FFF2-40B4-BE49-F238E27FC236}">
                <a16:creationId xmlns:a16="http://schemas.microsoft.com/office/drawing/2014/main" id="{78667CED-62ED-0E26-CEA0-560F83175156}"/>
              </a:ext>
            </a:extLst>
          </p:cNvPr>
          <p:cNvSpPr>
            <a:spLocks noChangeShapeType="1"/>
          </p:cNvSpPr>
          <p:nvPr>
            <p:custDataLst>
              <p:tags r:id="rId74"/>
            </p:custDataLst>
          </p:nvPr>
        </p:nvSpPr>
        <p:spPr bwMode="gray">
          <a:xfrm flipV="1">
            <a:off x="10403615" y="1587490"/>
            <a:ext cx="187989" cy="345453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80" name="Line 55">
            <a:extLst>
              <a:ext uri="{FF2B5EF4-FFF2-40B4-BE49-F238E27FC236}">
                <a16:creationId xmlns:a16="http://schemas.microsoft.com/office/drawing/2014/main" id="{C9282117-106D-E1C7-66E6-753E55794D90}"/>
              </a:ext>
            </a:extLst>
          </p:cNvPr>
          <p:cNvSpPr>
            <a:spLocks noChangeShapeType="1"/>
          </p:cNvSpPr>
          <p:nvPr>
            <p:custDataLst>
              <p:tags r:id="rId75"/>
            </p:custDataLst>
          </p:nvPr>
        </p:nvSpPr>
        <p:spPr bwMode="gray">
          <a:xfrm flipV="1">
            <a:off x="9904581" y="3613143"/>
            <a:ext cx="898325" cy="10346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81" name="Rectangle 64">
            <a:extLst>
              <a:ext uri="{FF2B5EF4-FFF2-40B4-BE49-F238E27FC236}">
                <a16:creationId xmlns:a16="http://schemas.microsoft.com/office/drawing/2014/main" id="{7880A9FE-E851-CBD9-9291-63BF03869021}"/>
              </a:ext>
            </a:extLst>
          </p:cNvPr>
          <p:cNvSpPr>
            <a:spLocks noChangeArrowheads="1"/>
          </p:cNvSpPr>
          <p:nvPr>
            <p:custDataLst>
              <p:tags r:id="rId76"/>
            </p:custDataLst>
          </p:nvPr>
        </p:nvSpPr>
        <p:spPr bwMode="gray">
          <a:xfrm>
            <a:off x="1623599" y="2612184"/>
            <a:ext cx="3590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dirty="0">
                <a:solidFill>
                  <a:srgbClr val="000000"/>
                </a:solidFill>
                <a:latin typeface="Tahoma"/>
              </a:rPr>
              <a:t>Watloo</a:t>
            </a:r>
          </a:p>
        </p:txBody>
      </p:sp>
      <p:sp>
        <p:nvSpPr>
          <p:cNvPr id="482" name="Oval 143">
            <a:extLst>
              <a:ext uri="{FF2B5EF4-FFF2-40B4-BE49-F238E27FC236}">
                <a16:creationId xmlns:a16="http://schemas.microsoft.com/office/drawing/2014/main" id="{8177A25B-D4C0-A39B-E8C5-15A953F172CE}"/>
              </a:ext>
            </a:extLst>
          </p:cNvPr>
          <p:cNvSpPr>
            <a:spLocks noChangeArrowheads="1"/>
          </p:cNvSpPr>
          <p:nvPr>
            <p:custDataLst>
              <p:tags r:id="rId77"/>
            </p:custDataLst>
          </p:nvPr>
        </p:nvSpPr>
        <p:spPr bwMode="gray">
          <a:xfrm>
            <a:off x="2057996" y="2476926"/>
            <a:ext cx="109415" cy="123277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sp>
        <p:nvSpPr>
          <p:cNvPr id="483" name="Line 36">
            <a:extLst>
              <a:ext uri="{FF2B5EF4-FFF2-40B4-BE49-F238E27FC236}">
                <a16:creationId xmlns:a16="http://schemas.microsoft.com/office/drawing/2014/main" id="{1C352305-1CE9-242C-7849-9899E6AFB10A}"/>
              </a:ext>
            </a:extLst>
          </p:cNvPr>
          <p:cNvSpPr>
            <a:spLocks noChangeShapeType="1"/>
          </p:cNvSpPr>
          <p:nvPr>
            <p:custDataLst>
              <p:tags r:id="rId78"/>
            </p:custDataLst>
          </p:nvPr>
        </p:nvSpPr>
        <p:spPr bwMode="gray">
          <a:xfrm flipH="1" flipV="1">
            <a:off x="2355917" y="3301640"/>
            <a:ext cx="514974" cy="29548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ZA" sz="1632">
              <a:solidFill>
                <a:srgbClr val="000000"/>
              </a:solidFill>
            </a:endParaRPr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44B8C3B7-1739-9E75-837D-3FF0805114BF}"/>
              </a:ext>
            </a:extLst>
          </p:cNvPr>
          <p:cNvSpPr>
            <a:spLocks noChangeArrowheads="1"/>
          </p:cNvSpPr>
          <p:nvPr>
            <p:custDataLst>
              <p:tags r:id="rId79"/>
            </p:custDataLst>
          </p:nvPr>
        </p:nvSpPr>
        <p:spPr bwMode="gray">
          <a:xfrm>
            <a:off x="3782417" y="3287954"/>
            <a:ext cx="34636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Union</a:t>
            </a:r>
          </a:p>
        </p:txBody>
      </p:sp>
      <p:sp>
        <p:nvSpPr>
          <p:cNvPr id="485" name="TextBox 484">
            <a:extLst>
              <a:ext uri="{FF2B5EF4-FFF2-40B4-BE49-F238E27FC236}">
                <a16:creationId xmlns:a16="http://schemas.microsoft.com/office/drawing/2014/main" id="{7C7077DC-4E27-C0E7-BBD2-FEC0F15D8331}"/>
              </a:ext>
            </a:extLst>
          </p:cNvPr>
          <p:cNvSpPr txBox="1"/>
          <p:nvPr/>
        </p:nvSpPr>
        <p:spPr>
          <a:xfrm>
            <a:off x="1423339" y="3783183"/>
            <a:ext cx="1299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000000"/>
                </a:solidFill>
              </a:rPr>
              <a:t>City Deep Terminal</a:t>
            </a:r>
          </a:p>
          <a:p>
            <a:r>
              <a:rPr lang="en-US" sz="700" dirty="0">
                <a:solidFill>
                  <a:srgbClr val="000000"/>
                </a:solidFill>
              </a:rPr>
              <a:t>Kascon Terminal</a:t>
            </a:r>
          </a:p>
        </p:txBody>
      </p:sp>
      <p:sp>
        <p:nvSpPr>
          <p:cNvPr id="486" name="TextBox 485">
            <a:extLst>
              <a:ext uri="{FF2B5EF4-FFF2-40B4-BE49-F238E27FC236}">
                <a16:creationId xmlns:a16="http://schemas.microsoft.com/office/drawing/2014/main" id="{4AC51E3F-CFBC-8F1E-C9E2-07A6AB57601C}"/>
              </a:ext>
            </a:extLst>
          </p:cNvPr>
          <p:cNvSpPr txBox="1"/>
          <p:nvPr/>
        </p:nvSpPr>
        <p:spPr>
          <a:xfrm>
            <a:off x="1289407" y="4145034"/>
            <a:ext cx="7685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000000"/>
                </a:solidFill>
              </a:rPr>
              <a:t>Bridge</a:t>
            </a:r>
          </a:p>
          <a:p>
            <a:r>
              <a:rPr lang="en-US" sz="700" dirty="0">
                <a:solidFill>
                  <a:srgbClr val="000000"/>
                </a:solidFill>
              </a:rPr>
              <a:t>Grindrod</a:t>
            </a:r>
          </a:p>
          <a:p>
            <a:r>
              <a:rPr lang="en-US" sz="700" dirty="0">
                <a:solidFill>
                  <a:srgbClr val="000000"/>
                </a:solidFill>
              </a:rPr>
              <a:t>SACD</a:t>
            </a:r>
          </a:p>
          <a:p>
            <a:r>
              <a:rPr lang="en-US" sz="700" dirty="0">
                <a:solidFill>
                  <a:srgbClr val="000000"/>
                </a:solidFill>
              </a:rPr>
              <a:t>Natalspruit</a:t>
            </a:r>
          </a:p>
        </p:txBody>
      </p:sp>
      <p:sp>
        <p:nvSpPr>
          <p:cNvPr id="487" name="TextBox 486">
            <a:extLst>
              <a:ext uri="{FF2B5EF4-FFF2-40B4-BE49-F238E27FC236}">
                <a16:creationId xmlns:a16="http://schemas.microsoft.com/office/drawing/2014/main" id="{AE99C6DA-82D2-A775-D2F6-FF46B2384148}"/>
              </a:ext>
            </a:extLst>
          </p:cNvPr>
          <p:cNvSpPr txBox="1"/>
          <p:nvPr/>
        </p:nvSpPr>
        <p:spPr>
          <a:xfrm>
            <a:off x="1090974" y="2681025"/>
            <a:ext cx="5143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i="1" dirty="0">
                <a:solidFill>
                  <a:srgbClr val="000000"/>
                </a:solidFill>
              </a:rPr>
              <a:t>Watloo</a:t>
            </a:r>
          </a:p>
          <a:p>
            <a:r>
              <a:rPr lang="en-US" sz="700" i="1" dirty="0">
                <a:solidFill>
                  <a:srgbClr val="000000"/>
                </a:solidFill>
              </a:rPr>
              <a:t>Rosslyn</a:t>
            </a:r>
          </a:p>
        </p:txBody>
      </p:sp>
      <p:sp>
        <p:nvSpPr>
          <p:cNvPr id="488" name="TextBox 487">
            <a:extLst>
              <a:ext uri="{FF2B5EF4-FFF2-40B4-BE49-F238E27FC236}">
                <a16:creationId xmlns:a16="http://schemas.microsoft.com/office/drawing/2014/main" id="{A982BBCC-5D24-FDEB-7177-DAB46301E90A}"/>
              </a:ext>
            </a:extLst>
          </p:cNvPr>
          <p:cNvSpPr txBox="1"/>
          <p:nvPr/>
        </p:nvSpPr>
        <p:spPr>
          <a:xfrm>
            <a:off x="884540" y="2185016"/>
            <a:ext cx="86744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i="1" dirty="0">
                <a:solidFill>
                  <a:srgbClr val="000000"/>
                </a:solidFill>
              </a:rPr>
              <a:t>Pretcon Terminal</a:t>
            </a:r>
          </a:p>
        </p:txBody>
      </p:sp>
      <p:sp>
        <p:nvSpPr>
          <p:cNvPr id="489" name="TextBox 488">
            <a:extLst>
              <a:ext uri="{FF2B5EF4-FFF2-40B4-BE49-F238E27FC236}">
                <a16:creationId xmlns:a16="http://schemas.microsoft.com/office/drawing/2014/main" id="{EC80E869-3E6C-C0A3-FF3D-2462071D8447}"/>
              </a:ext>
            </a:extLst>
          </p:cNvPr>
          <p:cNvSpPr txBox="1"/>
          <p:nvPr/>
        </p:nvSpPr>
        <p:spPr>
          <a:xfrm>
            <a:off x="1006792" y="3196342"/>
            <a:ext cx="8674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i="1" dirty="0">
                <a:solidFill>
                  <a:srgbClr val="000000"/>
                </a:solidFill>
              </a:rPr>
              <a:t>Kaalfontein Car Terminal</a:t>
            </a:r>
          </a:p>
        </p:txBody>
      </p:sp>
      <p:sp>
        <p:nvSpPr>
          <p:cNvPr id="490" name="Rectangle 89">
            <a:extLst>
              <a:ext uri="{FF2B5EF4-FFF2-40B4-BE49-F238E27FC236}">
                <a16:creationId xmlns:a16="http://schemas.microsoft.com/office/drawing/2014/main" id="{8F7530FA-6A51-1082-A5D6-0C40488CF219}"/>
              </a:ext>
            </a:extLst>
          </p:cNvPr>
          <p:cNvSpPr>
            <a:spLocks noChangeArrowheads="1"/>
          </p:cNvSpPr>
          <p:nvPr>
            <p:custDataLst>
              <p:tags r:id="rId80"/>
            </p:custDataLst>
          </p:nvPr>
        </p:nvSpPr>
        <p:spPr bwMode="gray">
          <a:xfrm>
            <a:off x="8272587" y="3483949"/>
            <a:ext cx="53219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dirty="0">
                <a:solidFill>
                  <a:srgbClr val="000000"/>
                </a:solidFill>
                <a:latin typeface="Tahoma"/>
              </a:rPr>
              <a:t>Mt Vernon</a:t>
            </a:r>
          </a:p>
        </p:txBody>
      </p:sp>
      <p:sp>
        <p:nvSpPr>
          <p:cNvPr id="491" name="TextBox 490">
            <a:extLst>
              <a:ext uri="{FF2B5EF4-FFF2-40B4-BE49-F238E27FC236}">
                <a16:creationId xmlns:a16="http://schemas.microsoft.com/office/drawing/2014/main" id="{02C0F80E-C908-1224-5B6B-97C536D3F2D5}"/>
              </a:ext>
            </a:extLst>
          </p:cNvPr>
          <p:cNvSpPr txBox="1"/>
          <p:nvPr/>
        </p:nvSpPr>
        <p:spPr>
          <a:xfrm>
            <a:off x="7285266" y="4069096"/>
            <a:ext cx="71709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000000"/>
                </a:solidFill>
              </a:rPr>
              <a:t>Branchlines</a:t>
            </a:r>
            <a:endParaRPr lang="en-ZA" sz="700" dirty="0">
              <a:solidFill>
                <a:srgbClr val="000000"/>
              </a:solidFill>
            </a:endParaRPr>
          </a:p>
        </p:txBody>
      </p:sp>
      <p:sp>
        <p:nvSpPr>
          <p:cNvPr id="492" name="Rectangle 67">
            <a:extLst>
              <a:ext uri="{FF2B5EF4-FFF2-40B4-BE49-F238E27FC236}">
                <a16:creationId xmlns:a16="http://schemas.microsoft.com/office/drawing/2014/main" id="{0B01641E-63CB-E5AF-C6CF-9D4EAB364073}"/>
              </a:ext>
            </a:extLst>
          </p:cNvPr>
          <p:cNvSpPr>
            <a:spLocks noChangeArrowheads="1"/>
          </p:cNvSpPr>
          <p:nvPr>
            <p:custDataLst>
              <p:tags r:id="rId81"/>
            </p:custDataLst>
          </p:nvPr>
        </p:nvSpPr>
        <p:spPr bwMode="gray">
          <a:xfrm>
            <a:off x="1900042" y="4606426"/>
            <a:ext cx="6027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Natalspruit</a:t>
            </a:r>
          </a:p>
        </p:txBody>
      </p:sp>
      <p:sp>
        <p:nvSpPr>
          <p:cNvPr id="493" name="TextBox 492">
            <a:extLst>
              <a:ext uri="{FF2B5EF4-FFF2-40B4-BE49-F238E27FC236}">
                <a16:creationId xmlns:a16="http://schemas.microsoft.com/office/drawing/2014/main" id="{DE479374-DEA8-C83E-FA1A-8BA3BC75DC85}"/>
              </a:ext>
            </a:extLst>
          </p:cNvPr>
          <p:cNvSpPr txBox="1"/>
          <p:nvPr/>
        </p:nvSpPr>
        <p:spPr>
          <a:xfrm>
            <a:off x="7675756" y="3508517"/>
            <a:ext cx="71709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000000"/>
                </a:solidFill>
              </a:rPr>
              <a:t>Masons Mill</a:t>
            </a:r>
            <a:endParaRPr lang="en-ZA" sz="700" dirty="0">
              <a:solidFill>
                <a:srgbClr val="000000"/>
              </a:solidFill>
            </a:endParaRPr>
          </a:p>
        </p:txBody>
      </p:sp>
      <p:sp>
        <p:nvSpPr>
          <p:cNvPr id="494" name="TextBox 493">
            <a:extLst>
              <a:ext uri="{FF2B5EF4-FFF2-40B4-BE49-F238E27FC236}">
                <a16:creationId xmlns:a16="http://schemas.microsoft.com/office/drawing/2014/main" id="{A28A0121-4D6E-6617-54DB-6D6262509169}"/>
              </a:ext>
            </a:extLst>
          </p:cNvPr>
          <p:cNvSpPr txBox="1"/>
          <p:nvPr/>
        </p:nvSpPr>
        <p:spPr>
          <a:xfrm>
            <a:off x="10360119" y="3757222"/>
            <a:ext cx="6604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000000"/>
                </a:solidFill>
              </a:rPr>
              <a:t>Kingsrest Buffer</a:t>
            </a:r>
          </a:p>
        </p:txBody>
      </p:sp>
      <p:sp>
        <p:nvSpPr>
          <p:cNvPr id="495" name="Text Placeholder 2">
            <a:extLst>
              <a:ext uri="{FF2B5EF4-FFF2-40B4-BE49-F238E27FC236}">
                <a16:creationId xmlns:a16="http://schemas.microsoft.com/office/drawing/2014/main" id="{35C16980-F345-D1E8-DF3D-21923EE13330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8720354" y="1595144"/>
            <a:ext cx="190500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779173" rtl="0" eaLnBrk="1" latinLnBrk="0" hangingPunct="1">
              <a:lnSpc>
                <a:spcPct val="110000"/>
              </a:lnSpc>
              <a:spcBef>
                <a:spcPts val="1023"/>
              </a:spcBef>
              <a:spcAft>
                <a:spcPts val="341"/>
              </a:spcAft>
              <a:buFont typeface="Arial" pitchFamily="34" charset="0"/>
              <a:buNone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228612" indent="-142037" algn="l" defTabSz="779173" rtl="0" eaLnBrk="1" latinLnBrk="0" hangingPunct="1">
              <a:lnSpc>
                <a:spcPct val="110000"/>
              </a:lnSpc>
              <a:spcBef>
                <a:spcPts val="171"/>
              </a:spcBef>
              <a:spcAft>
                <a:spcPts val="171"/>
              </a:spcAft>
              <a:buFont typeface="Arial" pitchFamily="34" charset="0"/>
              <a:buChar char="•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1623" indent="-160976" algn="l" defTabSz="779173" rtl="0" eaLnBrk="1" latinLnBrk="0" hangingPunct="1">
              <a:lnSpc>
                <a:spcPct val="110000"/>
              </a:lnSpc>
              <a:spcBef>
                <a:spcPts val="85"/>
              </a:spcBef>
              <a:spcAft>
                <a:spcPts val="171"/>
              </a:spcAft>
              <a:buFont typeface="Arial" pitchFamily="34" charset="0"/>
              <a:buChar char="›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64293" indent="-155565" algn="l" defTabSz="779173" rtl="0" eaLnBrk="1" latinLnBrk="0" hangingPunct="1">
              <a:lnSpc>
                <a:spcPct val="110000"/>
              </a:lnSpc>
              <a:spcBef>
                <a:spcPts val="85"/>
              </a:spcBef>
              <a:spcAft>
                <a:spcPts val="171"/>
              </a:spcAft>
              <a:buFont typeface="Arial" pitchFamily="34" charset="0"/>
              <a:buChar char="–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8126" indent="-156917" algn="l" defTabSz="779173" rtl="0" eaLnBrk="1" latinLnBrk="0" hangingPunct="1">
              <a:lnSpc>
                <a:spcPct val="110000"/>
              </a:lnSpc>
              <a:spcBef>
                <a:spcPts val="85"/>
              </a:spcBef>
              <a:spcAft>
                <a:spcPts val="171"/>
              </a:spcAft>
              <a:buFont typeface="Arial" pitchFamily="34" charset="0"/>
              <a:buChar char="»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42725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312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1898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484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fld id="{C773C964-5992-4255-BE8E-F0A35220DDE7}" type="datetime'''''''''2'''',''''''1'''''''''''''''''''''">
              <a:rPr lang="en-ZA" altLang="en-US" sz="800" b="1" smtClean="0">
                <a:solidFill>
                  <a:prstClr val="white"/>
                </a:solidFill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t>2,1</a:t>
            </a:fld>
            <a:endParaRPr lang="en-ZA" sz="800" b="1" dirty="0">
              <a:solidFill>
                <a:prstClr val="white"/>
              </a:solidFill>
              <a:sym typeface="+mn-lt"/>
            </a:endParaRPr>
          </a:p>
        </p:txBody>
      </p:sp>
      <p:cxnSp>
        <p:nvCxnSpPr>
          <p:cNvPr id="496" name="Straight Connector 495">
            <a:extLst>
              <a:ext uri="{FF2B5EF4-FFF2-40B4-BE49-F238E27FC236}">
                <a16:creationId xmlns:a16="http://schemas.microsoft.com/office/drawing/2014/main" id="{2F0D4EAD-9262-9F0F-9711-3CEE5E44B68E}"/>
              </a:ext>
            </a:extLst>
          </p:cNvPr>
          <p:cNvCxnSpPr/>
          <p:nvPr/>
        </p:nvCxnSpPr>
        <p:spPr>
          <a:xfrm>
            <a:off x="3613682" y="6469474"/>
            <a:ext cx="1183420" cy="7296"/>
          </a:xfrm>
          <a:prstGeom prst="line">
            <a:avLst/>
          </a:prstGeom>
          <a:ln w="1587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7" name="Straight Connector 496">
            <a:extLst>
              <a:ext uri="{FF2B5EF4-FFF2-40B4-BE49-F238E27FC236}">
                <a16:creationId xmlns:a16="http://schemas.microsoft.com/office/drawing/2014/main" id="{17FB62F3-4D2F-540F-22CB-ADED54983143}"/>
              </a:ext>
            </a:extLst>
          </p:cNvPr>
          <p:cNvCxnSpPr/>
          <p:nvPr/>
        </p:nvCxnSpPr>
        <p:spPr>
          <a:xfrm flipV="1">
            <a:off x="10891195" y="6447036"/>
            <a:ext cx="353832" cy="646"/>
          </a:xfrm>
          <a:prstGeom prst="line">
            <a:avLst/>
          </a:prstGeom>
          <a:ln w="1587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Rectangle 82">
            <a:extLst>
              <a:ext uri="{FF2B5EF4-FFF2-40B4-BE49-F238E27FC236}">
                <a16:creationId xmlns:a16="http://schemas.microsoft.com/office/drawing/2014/main" id="{6E21BDFC-D548-2487-0549-9AA806A61B7E}"/>
              </a:ext>
            </a:extLst>
          </p:cNvPr>
          <p:cNvSpPr>
            <a:spLocks noChangeArrowheads="1"/>
          </p:cNvSpPr>
          <p:nvPr>
            <p:custDataLst>
              <p:tags r:id="rId83"/>
            </p:custDataLst>
          </p:nvPr>
        </p:nvSpPr>
        <p:spPr bwMode="gray">
          <a:xfrm>
            <a:off x="7279238" y="3081461"/>
            <a:ext cx="46647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 err="1">
                <a:solidFill>
                  <a:srgbClr val="000000"/>
                </a:solidFill>
                <a:latin typeface="Tahoma"/>
              </a:rPr>
              <a:t>Escourt</a:t>
            </a:r>
            <a:r>
              <a:rPr lang="en-ZA" altLang="en-US" sz="900" b="1" dirty="0">
                <a:solidFill>
                  <a:srgbClr val="000000"/>
                </a:solidFill>
                <a:latin typeface="Tahoma"/>
              </a:rPr>
              <a:t> </a:t>
            </a:r>
          </a:p>
        </p:txBody>
      </p:sp>
      <p:sp>
        <p:nvSpPr>
          <p:cNvPr id="499" name="Rectangle 82">
            <a:extLst>
              <a:ext uri="{FF2B5EF4-FFF2-40B4-BE49-F238E27FC236}">
                <a16:creationId xmlns:a16="http://schemas.microsoft.com/office/drawing/2014/main" id="{0FD7C6F5-FADE-BBB6-DF3C-94542A155149}"/>
              </a:ext>
            </a:extLst>
          </p:cNvPr>
          <p:cNvSpPr>
            <a:spLocks noChangeArrowheads="1"/>
          </p:cNvSpPr>
          <p:nvPr>
            <p:custDataLst>
              <p:tags r:id="rId84"/>
            </p:custDataLst>
          </p:nvPr>
        </p:nvSpPr>
        <p:spPr bwMode="gray">
          <a:xfrm>
            <a:off x="4409428" y="3339194"/>
            <a:ext cx="4600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80000"/>
              <a:buFont typeface="Symbol" panose="05050102010706020507" pitchFamily="18" charset="2"/>
              <a:buChar char="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ZA" altLang="en-US" sz="900" b="1" dirty="0" err="1">
                <a:solidFill>
                  <a:srgbClr val="000000"/>
                </a:solidFill>
                <a:latin typeface="Tahoma"/>
              </a:rPr>
              <a:t>Kaydale</a:t>
            </a:r>
            <a:endParaRPr lang="en-ZA" altLang="en-US" sz="900" b="1" dirty="0">
              <a:solidFill>
                <a:srgbClr val="000000"/>
              </a:solidFill>
              <a:latin typeface="Tahoma"/>
            </a:endParaRPr>
          </a:p>
        </p:txBody>
      </p:sp>
      <p:sp>
        <p:nvSpPr>
          <p:cNvPr id="500" name="Oval 46">
            <a:extLst>
              <a:ext uri="{FF2B5EF4-FFF2-40B4-BE49-F238E27FC236}">
                <a16:creationId xmlns:a16="http://schemas.microsoft.com/office/drawing/2014/main" id="{290CE0F5-D3A8-AD76-660F-3C4DA92FB526}"/>
              </a:ext>
            </a:extLst>
          </p:cNvPr>
          <p:cNvSpPr>
            <a:spLocks noChangeArrowheads="1"/>
          </p:cNvSpPr>
          <p:nvPr>
            <p:custDataLst>
              <p:tags r:id="rId85"/>
            </p:custDataLst>
          </p:nvPr>
        </p:nvSpPr>
        <p:spPr bwMode="gray">
          <a:xfrm>
            <a:off x="6775348" y="4076708"/>
            <a:ext cx="77748" cy="7774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sp>
        <p:nvSpPr>
          <p:cNvPr id="501" name="Oval 46">
            <a:extLst>
              <a:ext uri="{FF2B5EF4-FFF2-40B4-BE49-F238E27FC236}">
                <a16:creationId xmlns:a16="http://schemas.microsoft.com/office/drawing/2014/main" id="{BE788B62-BB83-6894-D512-989CF8453A25}"/>
              </a:ext>
            </a:extLst>
          </p:cNvPr>
          <p:cNvSpPr>
            <a:spLocks noChangeArrowheads="1"/>
          </p:cNvSpPr>
          <p:nvPr>
            <p:custDataLst>
              <p:tags r:id="rId86"/>
            </p:custDataLst>
          </p:nvPr>
        </p:nvSpPr>
        <p:spPr bwMode="gray">
          <a:xfrm>
            <a:off x="4673515" y="3239068"/>
            <a:ext cx="77748" cy="7774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sp>
        <p:nvSpPr>
          <p:cNvPr id="502" name="Oval 46">
            <a:extLst>
              <a:ext uri="{FF2B5EF4-FFF2-40B4-BE49-F238E27FC236}">
                <a16:creationId xmlns:a16="http://schemas.microsoft.com/office/drawing/2014/main" id="{6BF591FC-8445-8AA0-2F29-B02AEEE559E8}"/>
              </a:ext>
            </a:extLst>
          </p:cNvPr>
          <p:cNvSpPr>
            <a:spLocks noChangeArrowheads="1"/>
          </p:cNvSpPr>
          <p:nvPr>
            <p:custDataLst>
              <p:tags r:id="rId87"/>
            </p:custDataLst>
          </p:nvPr>
        </p:nvSpPr>
        <p:spPr bwMode="gray">
          <a:xfrm flipH="1">
            <a:off x="3444033" y="3211513"/>
            <a:ext cx="45719" cy="110873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sp>
        <p:nvSpPr>
          <p:cNvPr id="503" name="Oval 46">
            <a:extLst>
              <a:ext uri="{FF2B5EF4-FFF2-40B4-BE49-F238E27FC236}">
                <a16:creationId xmlns:a16="http://schemas.microsoft.com/office/drawing/2014/main" id="{B928C03D-0E12-E335-F0C8-2E21AE009C9F}"/>
              </a:ext>
            </a:extLst>
          </p:cNvPr>
          <p:cNvSpPr>
            <a:spLocks noChangeArrowheads="1"/>
          </p:cNvSpPr>
          <p:nvPr>
            <p:custDataLst>
              <p:tags r:id="rId88"/>
            </p:custDataLst>
          </p:nvPr>
        </p:nvSpPr>
        <p:spPr bwMode="gray">
          <a:xfrm>
            <a:off x="6601904" y="3739444"/>
            <a:ext cx="77748" cy="7774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ZA" altLang="en-US" sz="1020">
              <a:solidFill>
                <a:srgbClr val="000000"/>
              </a:solidFill>
            </a:endParaRPr>
          </a:p>
        </p:txBody>
      </p:sp>
      <p:pic>
        <p:nvPicPr>
          <p:cNvPr id="504" name="Picture 503">
            <a:extLst>
              <a:ext uri="{FF2B5EF4-FFF2-40B4-BE49-F238E27FC236}">
                <a16:creationId xmlns:a16="http://schemas.microsoft.com/office/drawing/2014/main" id="{CADA276A-D330-B583-972D-DF363F365985}"/>
              </a:ext>
            </a:extLst>
          </p:cNvPr>
          <p:cNvPicPr>
            <a:picLocks noChangeAspect="1"/>
          </p:cNvPicPr>
          <p:nvPr/>
        </p:nvPicPr>
        <p:blipFill>
          <a:blip r:embed="rId90"/>
          <a:stretch>
            <a:fillRect/>
          </a:stretch>
        </p:blipFill>
        <p:spPr>
          <a:xfrm>
            <a:off x="444828" y="1206215"/>
            <a:ext cx="1420491" cy="603556"/>
          </a:xfrm>
          <a:prstGeom prst="rect">
            <a:avLst/>
          </a:prstGeom>
        </p:spPr>
      </p:pic>
      <p:pic>
        <p:nvPicPr>
          <p:cNvPr id="505" name="Picture 504">
            <a:extLst>
              <a:ext uri="{FF2B5EF4-FFF2-40B4-BE49-F238E27FC236}">
                <a16:creationId xmlns:a16="http://schemas.microsoft.com/office/drawing/2014/main" id="{D6B5C7A7-97DC-E8B5-1F51-C31BF12BDFA0}"/>
              </a:ext>
            </a:extLst>
          </p:cNvPr>
          <p:cNvPicPr>
            <a:picLocks noChangeAspect="1"/>
          </p:cNvPicPr>
          <p:nvPr/>
        </p:nvPicPr>
        <p:blipFill>
          <a:blip r:embed="rId91"/>
          <a:stretch>
            <a:fillRect/>
          </a:stretch>
        </p:blipFill>
        <p:spPr>
          <a:xfrm>
            <a:off x="260879" y="1238750"/>
            <a:ext cx="201185" cy="225572"/>
          </a:xfrm>
          <a:prstGeom prst="rect">
            <a:avLst/>
          </a:prstGeom>
        </p:spPr>
      </p:pic>
      <p:pic>
        <p:nvPicPr>
          <p:cNvPr id="506" name="Picture 505">
            <a:extLst>
              <a:ext uri="{FF2B5EF4-FFF2-40B4-BE49-F238E27FC236}">
                <a16:creationId xmlns:a16="http://schemas.microsoft.com/office/drawing/2014/main" id="{DAFA130C-6A74-0BD4-412E-E5DD50BEA2FA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192232" y="1555673"/>
            <a:ext cx="317019" cy="182896"/>
          </a:xfrm>
          <a:prstGeom prst="rect">
            <a:avLst/>
          </a:prstGeom>
        </p:spPr>
      </p:pic>
      <p:pic>
        <p:nvPicPr>
          <p:cNvPr id="507" name="Picture 506">
            <a:extLst>
              <a:ext uri="{FF2B5EF4-FFF2-40B4-BE49-F238E27FC236}">
                <a16:creationId xmlns:a16="http://schemas.microsoft.com/office/drawing/2014/main" id="{A37ED350-9BE2-767E-DF57-6C2BA2559E84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3194399" y="3169580"/>
            <a:ext cx="317019" cy="182896"/>
          </a:xfrm>
          <a:prstGeom prst="rect">
            <a:avLst/>
          </a:prstGeom>
        </p:spPr>
      </p:pic>
      <p:pic>
        <p:nvPicPr>
          <p:cNvPr id="508" name="Picture 507">
            <a:extLst>
              <a:ext uri="{FF2B5EF4-FFF2-40B4-BE49-F238E27FC236}">
                <a16:creationId xmlns:a16="http://schemas.microsoft.com/office/drawing/2014/main" id="{06A82A29-789D-4BB4-A2A7-15ADEEF19C63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4199696" y="3196279"/>
            <a:ext cx="317019" cy="182896"/>
          </a:xfrm>
          <a:prstGeom prst="rect">
            <a:avLst/>
          </a:prstGeom>
        </p:spPr>
      </p:pic>
      <p:pic>
        <p:nvPicPr>
          <p:cNvPr id="509" name="Picture 508">
            <a:extLst>
              <a:ext uri="{FF2B5EF4-FFF2-40B4-BE49-F238E27FC236}">
                <a16:creationId xmlns:a16="http://schemas.microsoft.com/office/drawing/2014/main" id="{D3DC6B46-291A-E6D6-295D-B25C9A330FC0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4998599" y="3169580"/>
            <a:ext cx="317019" cy="182896"/>
          </a:xfrm>
          <a:prstGeom prst="rect">
            <a:avLst/>
          </a:prstGeom>
        </p:spPr>
      </p:pic>
      <p:pic>
        <p:nvPicPr>
          <p:cNvPr id="510" name="Picture 509">
            <a:extLst>
              <a:ext uri="{FF2B5EF4-FFF2-40B4-BE49-F238E27FC236}">
                <a16:creationId xmlns:a16="http://schemas.microsoft.com/office/drawing/2014/main" id="{74AEE55F-78FD-4D3B-8DD3-04B6355B6152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5848568" y="3196279"/>
            <a:ext cx="317019" cy="182896"/>
          </a:xfrm>
          <a:prstGeom prst="rect">
            <a:avLst/>
          </a:prstGeom>
        </p:spPr>
      </p:pic>
      <p:pic>
        <p:nvPicPr>
          <p:cNvPr id="511" name="Picture 510">
            <a:extLst>
              <a:ext uri="{FF2B5EF4-FFF2-40B4-BE49-F238E27FC236}">
                <a16:creationId xmlns:a16="http://schemas.microsoft.com/office/drawing/2014/main" id="{F9F1E1D0-02EE-F0B2-2B78-681B1FE2A046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6347930" y="2397068"/>
            <a:ext cx="317019" cy="182896"/>
          </a:xfrm>
          <a:prstGeom prst="rect">
            <a:avLst/>
          </a:prstGeom>
        </p:spPr>
      </p:pic>
      <p:pic>
        <p:nvPicPr>
          <p:cNvPr id="512" name="Picture 511">
            <a:extLst>
              <a:ext uri="{FF2B5EF4-FFF2-40B4-BE49-F238E27FC236}">
                <a16:creationId xmlns:a16="http://schemas.microsoft.com/office/drawing/2014/main" id="{5D9681BC-6BED-B1B1-5033-1790F2B2F64D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6479773" y="2805288"/>
            <a:ext cx="317019" cy="182896"/>
          </a:xfrm>
          <a:prstGeom prst="rect">
            <a:avLst/>
          </a:prstGeom>
        </p:spPr>
      </p:pic>
      <p:pic>
        <p:nvPicPr>
          <p:cNvPr id="513" name="Picture 512">
            <a:extLst>
              <a:ext uri="{FF2B5EF4-FFF2-40B4-BE49-F238E27FC236}">
                <a16:creationId xmlns:a16="http://schemas.microsoft.com/office/drawing/2014/main" id="{D45CDD90-3E95-08E6-D982-DCF975BA9417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6700576" y="3924924"/>
            <a:ext cx="317019" cy="182896"/>
          </a:xfrm>
          <a:prstGeom prst="rect">
            <a:avLst/>
          </a:prstGeom>
        </p:spPr>
      </p:pic>
      <p:pic>
        <p:nvPicPr>
          <p:cNvPr id="514" name="Picture 513">
            <a:extLst>
              <a:ext uri="{FF2B5EF4-FFF2-40B4-BE49-F238E27FC236}">
                <a16:creationId xmlns:a16="http://schemas.microsoft.com/office/drawing/2014/main" id="{EE8C6E26-E88C-F6BE-B432-EE7899367F06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6637495" y="4304079"/>
            <a:ext cx="317019" cy="182896"/>
          </a:xfrm>
          <a:prstGeom prst="rect">
            <a:avLst/>
          </a:prstGeom>
        </p:spPr>
      </p:pic>
      <p:pic>
        <p:nvPicPr>
          <p:cNvPr id="515" name="Picture 514">
            <a:extLst>
              <a:ext uri="{FF2B5EF4-FFF2-40B4-BE49-F238E27FC236}">
                <a16:creationId xmlns:a16="http://schemas.microsoft.com/office/drawing/2014/main" id="{0294CCBB-2A61-9758-905B-5DD3498A223D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7302977" y="3222296"/>
            <a:ext cx="317019" cy="182896"/>
          </a:xfrm>
          <a:prstGeom prst="rect">
            <a:avLst/>
          </a:prstGeom>
        </p:spPr>
      </p:pic>
      <p:pic>
        <p:nvPicPr>
          <p:cNvPr id="516" name="Picture 515">
            <a:extLst>
              <a:ext uri="{FF2B5EF4-FFF2-40B4-BE49-F238E27FC236}">
                <a16:creationId xmlns:a16="http://schemas.microsoft.com/office/drawing/2014/main" id="{B05891AE-39AF-5289-6172-DD9D05F7B865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8037446" y="3196279"/>
            <a:ext cx="317019" cy="182896"/>
          </a:xfrm>
          <a:prstGeom prst="rect">
            <a:avLst/>
          </a:prstGeom>
        </p:spPr>
      </p:pic>
      <p:pic>
        <p:nvPicPr>
          <p:cNvPr id="517" name="Picture 516">
            <a:extLst>
              <a:ext uri="{FF2B5EF4-FFF2-40B4-BE49-F238E27FC236}">
                <a16:creationId xmlns:a16="http://schemas.microsoft.com/office/drawing/2014/main" id="{C543C906-15AB-2048-C5CC-355EC8CACE1D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8796803" y="2977003"/>
            <a:ext cx="317019" cy="182896"/>
          </a:xfrm>
          <a:prstGeom prst="rect">
            <a:avLst/>
          </a:prstGeom>
        </p:spPr>
      </p:pic>
      <p:pic>
        <p:nvPicPr>
          <p:cNvPr id="518" name="Picture 517">
            <a:extLst>
              <a:ext uri="{FF2B5EF4-FFF2-40B4-BE49-F238E27FC236}">
                <a16:creationId xmlns:a16="http://schemas.microsoft.com/office/drawing/2014/main" id="{15133953-F61D-D7A0-DA75-71304E007635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9993977" y="2266122"/>
            <a:ext cx="364278" cy="210161"/>
          </a:xfrm>
          <a:prstGeom prst="rect">
            <a:avLst/>
          </a:prstGeom>
        </p:spPr>
      </p:pic>
      <p:pic>
        <p:nvPicPr>
          <p:cNvPr id="519" name="Picture 518">
            <a:extLst>
              <a:ext uri="{FF2B5EF4-FFF2-40B4-BE49-F238E27FC236}">
                <a16:creationId xmlns:a16="http://schemas.microsoft.com/office/drawing/2014/main" id="{9449AF07-1426-1464-A082-FAA98251F0CD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9414388" y="3529788"/>
            <a:ext cx="317019" cy="182896"/>
          </a:xfrm>
          <a:prstGeom prst="rect">
            <a:avLst/>
          </a:prstGeom>
        </p:spPr>
      </p:pic>
      <p:pic>
        <p:nvPicPr>
          <p:cNvPr id="520" name="Picture 519">
            <a:extLst>
              <a:ext uri="{FF2B5EF4-FFF2-40B4-BE49-F238E27FC236}">
                <a16:creationId xmlns:a16="http://schemas.microsoft.com/office/drawing/2014/main" id="{8C3CA347-7394-DB8B-1E07-528BA722372E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9634757" y="4032253"/>
            <a:ext cx="317019" cy="182896"/>
          </a:xfrm>
          <a:prstGeom prst="rect">
            <a:avLst/>
          </a:prstGeom>
        </p:spPr>
      </p:pic>
      <p:pic>
        <p:nvPicPr>
          <p:cNvPr id="521" name="Picture 520">
            <a:extLst>
              <a:ext uri="{FF2B5EF4-FFF2-40B4-BE49-F238E27FC236}">
                <a16:creationId xmlns:a16="http://schemas.microsoft.com/office/drawing/2014/main" id="{39ACC951-0648-FCC5-00A1-C381C97A92C9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8937890" y="3504953"/>
            <a:ext cx="317019" cy="182896"/>
          </a:xfrm>
          <a:prstGeom prst="rect">
            <a:avLst/>
          </a:prstGeom>
        </p:spPr>
      </p:pic>
      <p:pic>
        <p:nvPicPr>
          <p:cNvPr id="522" name="Picture 521">
            <a:extLst>
              <a:ext uri="{FF2B5EF4-FFF2-40B4-BE49-F238E27FC236}">
                <a16:creationId xmlns:a16="http://schemas.microsoft.com/office/drawing/2014/main" id="{8D737739-DB3E-F0CD-F860-357C425EC2AB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2769551" y="3363993"/>
            <a:ext cx="317019" cy="182896"/>
          </a:xfrm>
          <a:prstGeom prst="rect">
            <a:avLst/>
          </a:prstGeom>
        </p:spPr>
      </p:pic>
      <p:pic>
        <p:nvPicPr>
          <p:cNvPr id="523" name="Picture 522">
            <a:extLst>
              <a:ext uri="{FF2B5EF4-FFF2-40B4-BE49-F238E27FC236}">
                <a16:creationId xmlns:a16="http://schemas.microsoft.com/office/drawing/2014/main" id="{BAC91022-8449-F01C-1E2D-11CC92082148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2485482" y="3775717"/>
            <a:ext cx="317019" cy="178380"/>
          </a:xfrm>
          <a:prstGeom prst="rect">
            <a:avLst/>
          </a:prstGeom>
        </p:spPr>
      </p:pic>
      <p:sp>
        <p:nvSpPr>
          <p:cNvPr id="524" name="TextBox 523">
            <a:extLst>
              <a:ext uri="{FF2B5EF4-FFF2-40B4-BE49-F238E27FC236}">
                <a16:creationId xmlns:a16="http://schemas.microsoft.com/office/drawing/2014/main" id="{D3A625F4-F40E-B66F-2D13-A77F07412886}"/>
              </a:ext>
            </a:extLst>
          </p:cNvPr>
          <p:cNvSpPr txBox="1"/>
          <p:nvPr/>
        </p:nvSpPr>
        <p:spPr>
          <a:xfrm>
            <a:off x="11036934" y="2895448"/>
            <a:ext cx="1073215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+mn-lt"/>
              </a:rPr>
              <a:t>Work Stoppage by Business Forum  </a:t>
            </a:r>
            <a:endParaRPr lang="en-ZA" sz="800" dirty="0">
              <a:latin typeface="+mn-lt"/>
            </a:endParaRPr>
          </a:p>
        </p:txBody>
      </p:sp>
      <p:cxnSp>
        <p:nvCxnSpPr>
          <p:cNvPr id="525" name="Straight Arrow Connector 524">
            <a:extLst>
              <a:ext uri="{FF2B5EF4-FFF2-40B4-BE49-F238E27FC236}">
                <a16:creationId xmlns:a16="http://schemas.microsoft.com/office/drawing/2014/main" id="{93D792C6-F890-90FA-F77F-501E07EF2CA5}"/>
              </a:ext>
            </a:extLst>
          </p:cNvPr>
          <p:cNvCxnSpPr>
            <a:cxnSpLocks/>
            <a:stCxn id="524" idx="1"/>
          </p:cNvCxnSpPr>
          <p:nvPr/>
        </p:nvCxnSpPr>
        <p:spPr>
          <a:xfrm flipH="1">
            <a:off x="9802478" y="3064725"/>
            <a:ext cx="1234456" cy="379963"/>
          </a:xfrm>
          <a:prstGeom prst="straightConnector1">
            <a:avLst/>
          </a:prstGeom>
          <a:ln w="15875" cap="rnd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>
            <a:extLst>
              <a:ext uri="{FF2B5EF4-FFF2-40B4-BE49-F238E27FC236}">
                <a16:creationId xmlns:a16="http://schemas.microsoft.com/office/drawing/2014/main" id="{E044CF3B-577F-7F9D-C2A6-DFF2D28FD5D1}"/>
              </a:ext>
            </a:extLst>
          </p:cNvPr>
          <p:cNvSpPr txBox="1"/>
          <p:nvPr/>
        </p:nvSpPr>
        <p:spPr>
          <a:xfrm>
            <a:off x="7034045" y="4703980"/>
            <a:ext cx="1515955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+mn-lt"/>
              </a:rPr>
              <a:t>South Coast Work Stoppage by Business Forums  </a:t>
            </a:r>
            <a:endParaRPr lang="en-ZA" sz="800" dirty="0">
              <a:latin typeface="+mn-lt"/>
            </a:endParaRPr>
          </a:p>
        </p:txBody>
      </p:sp>
      <p:cxnSp>
        <p:nvCxnSpPr>
          <p:cNvPr id="527" name="Straight Arrow Connector 526">
            <a:extLst>
              <a:ext uri="{FF2B5EF4-FFF2-40B4-BE49-F238E27FC236}">
                <a16:creationId xmlns:a16="http://schemas.microsoft.com/office/drawing/2014/main" id="{B360EA0F-C249-BB25-8015-4468B3A179EA}"/>
              </a:ext>
            </a:extLst>
          </p:cNvPr>
          <p:cNvCxnSpPr>
            <a:stCxn id="526" idx="3"/>
          </p:cNvCxnSpPr>
          <p:nvPr/>
        </p:nvCxnSpPr>
        <p:spPr>
          <a:xfrm flipV="1">
            <a:off x="8550000" y="4835080"/>
            <a:ext cx="838485" cy="38177"/>
          </a:xfrm>
          <a:prstGeom prst="straightConnector1">
            <a:avLst/>
          </a:prstGeom>
          <a:ln w="15875" cap="rnd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8" name="TextBox 527">
            <a:extLst>
              <a:ext uri="{FF2B5EF4-FFF2-40B4-BE49-F238E27FC236}">
                <a16:creationId xmlns:a16="http://schemas.microsoft.com/office/drawing/2014/main" id="{63A9C02B-E777-E6D0-3E21-B2E2EB1D8909}"/>
              </a:ext>
            </a:extLst>
          </p:cNvPr>
          <p:cNvSpPr txBox="1"/>
          <p:nvPr/>
        </p:nvSpPr>
        <p:spPr>
          <a:xfrm>
            <a:off x="4041708" y="1818058"/>
            <a:ext cx="1546455" cy="78483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+mn-lt"/>
              </a:rPr>
              <a:t>Community Work Interruption and Business Forums during annual Shutdown – Greylingstad, Balfour North, Heidelberg</a:t>
            </a:r>
            <a:endParaRPr lang="en-ZA" sz="900" dirty="0">
              <a:latin typeface="+mn-lt"/>
            </a:endParaRPr>
          </a:p>
        </p:txBody>
      </p:sp>
      <p:cxnSp>
        <p:nvCxnSpPr>
          <p:cNvPr id="529" name="Straight Arrow Connector 528">
            <a:extLst>
              <a:ext uri="{FF2B5EF4-FFF2-40B4-BE49-F238E27FC236}">
                <a16:creationId xmlns:a16="http://schemas.microsoft.com/office/drawing/2014/main" id="{7D85090B-A76C-A7BB-A6D5-1EF6E9F3E867}"/>
              </a:ext>
            </a:extLst>
          </p:cNvPr>
          <p:cNvCxnSpPr>
            <a:cxnSpLocks/>
          </p:cNvCxnSpPr>
          <p:nvPr/>
        </p:nvCxnSpPr>
        <p:spPr>
          <a:xfrm>
            <a:off x="4869490" y="2681025"/>
            <a:ext cx="0" cy="602468"/>
          </a:xfrm>
          <a:prstGeom prst="straightConnector1">
            <a:avLst/>
          </a:prstGeom>
          <a:ln w="15875" cap="rnd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0" name="Multiplication Sign 529">
            <a:extLst>
              <a:ext uri="{FF2B5EF4-FFF2-40B4-BE49-F238E27FC236}">
                <a16:creationId xmlns:a16="http://schemas.microsoft.com/office/drawing/2014/main" id="{F010FD47-B587-E9D0-139F-F2BF220B83A9}"/>
              </a:ext>
            </a:extLst>
          </p:cNvPr>
          <p:cNvSpPr/>
          <p:nvPr/>
        </p:nvSpPr>
        <p:spPr>
          <a:xfrm>
            <a:off x="7820165" y="3068160"/>
            <a:ext cx="247828" cy="315513"/>
          </a:xfrm>
          <a:prstGeom prst="mathMultiply">
            <a:avLst/>
          </a:prstGeom>
          <a:solidFill>
            <a:schemeClr val="accent6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chemeClr val="tx1"/>
              </a:solidFill>
            </a:endParaRPr>
          </a:p>
        </p:txBody>
      </p:sp>
      <p:sp>
        <p:nvSpPr>
          <p:cNvPr id="531" name="Multiplication Sign 530">
            <a:extLst>
              <a:ext uri="{FF2B5EF4-FFF2-40B4-BE49-F238E27FC236}">
                <a16:creationId xmlns:a16="http://schemas.microsoft.com/office/drawing/2014/main" id="{4AB1AAB2-2BC0-34C2-FE9B-162AC723F158}"/>
              </a:ext>
            </a:extLst>
          </p:cNvPr>
          <p:cNvSpPr/>
          <p:nvPr/>
        </p:nvSpPr>
        <p:spPr>
          <a:xfrm>
            <a:off x="6828115" y="3087692"/>
            <a:ext cx="247828" cy="315513"/>
          </a:xfrm>
          <a:prstGeom prst="mathMultiply">
            <a:avLst/>
          </a:prstGeom>
          <a:solidFill>
            <a:schemeClr val="accent6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chemeClr val="tx1"/>
              </a:solidFill>
            </a:endParaRPr>
          </a:p>
        </p:txBody>
      </p:sp>
      <p:sp>
        <p:nvSpPr>
          <p:cNvPr id="532" name="Multiplication Sign 531">
            <a:extLst>
              <a:ext uri="{FF2B5EF4-FFF2-40B4-BE49-F238E27FC236}">
                <a16:creationId xmlns:a16="http://schemas.microsoft.com/office/drawing/2014/main" id="{DE29FBE3-FB6A-17A4-DC6B-56C652127E76}"/>
              </a:ext>
            </a:extLst>
          </p:cNvPr>
          <p:cNvSpPr/>
          <p:nvPr/>
        </p:nvSpPr>
        <p:spPr>
          <a:xfrm>
            <a:off x="4816231" y="3103271"/>
            <a:ext cx="247828" cy="315513"/>
          </a:xfrm>
          <a:prstGeom prst="mathMultiply">
            <a:avLst/>
          </a:prstGeom>
          <a:solidFill>
            <a:schemeClr val="accent6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chemeClr val="tx1"/>
              </a:solidFill>
            </a:endParaRPr>
          </a:p>
        </p:txBody>
      </p:sp>
      <p:pic>
        <p:nvPicPr>
          <p:cNvPr id="533" name="Picture 532">
            <a:extLst>
              <a:ext uri="{FF2B5EF4-FFF2-40B4-BE49-F238E27FC236}">
                <a16:creationId xmlns:a16="http://schemas.microsoft.com/office/drawing/2014/main" id="{3A2F873D-4EF5-BD01-E737-A89FFA2F2384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10184174" y="1909247"/>
            <a:ext cx="364278" cy="210161"/>
          </a:xfrm>
          <a:prstGeom prst="rect">
            <a:avLst/>
          </a:prstGeom>
        </p:spPr>
      </p:pic>
      <p:pic>
        <p:nvPicPr>
          <p:cNvPr id="534" name="Picture 533">
            <a:extLst>
              <a:ext uri="{FF2B5EF4-FFF2-40B4-BE49-F238E27FC236}">
                <a16:creationId xmlns:a16="http://schemas.microsoft.com/office/drawing/2014/main" id="{43FDDE08-62A4-423B-C367-44CD69354BA7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9160479" y="3882103"/>
            <a:ext cx="317019" cy="182896"/>
          </a:xfrm>
          <a:prstGeom prst="rect">
            <a:avLst/>
          </a:prstGeom>
        </p:spPr>
      </p:pic>
      <p:pic>
        <p:nvPicPr>
          <p:cNvPr id="535" name="Picture 534">
            <a:extLst>
              <a:ext uri="{FF2B5EF4-FFF2-40B4-BE49-F238E27FC236}">
                <a16:creationId xmlns:a16="http://schemas.microsoft.com/office/drawing/2014/main" id="{F0799C9B-7EE3-8E8B-97A5-2D0A305842F3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9486165" y="2620433"/>
            <a:ext cx="317019" cy="182896"/>
          </a:xfrm>
          <a:prstGeom prst="rect">
            <a:avLst/>
          </a:prstGeom>
        </p:spPr>
      </p:pic>
      <p:pic>
        <p:nvPicPr>
          <p:cNvPr id="536" name="Picture 535">
            <a:extLst>
              <a:ext uri="{FF2B5EF4-FFF2-40B4-BE49-F238E27FC236}">
                <a16:creationId xmlns:a16="http://schemas.microsoft.com/office/drawing/2014/main" id="{213420CF-6A85-6BFF-2F8B-844F61BBEC2B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6844800" y="3592271"/>
            <a:ext cx="317019" cy="182896"/>
          </a:xfrm>
          <a:prstGeom prst="rect">
            <a:avLst/>
          </a:prstGeom>
        </p:spPr>
      </p:pic>
      <p:sp>
        <p:nvSpPr>
          <p:cNvPr id="537" name="Multiplication Sign 536">
            <a:extLst>
              <a:ext uri="{FF2B5EF4-FFF2-40B4-BE49-F238E27FC236}">
                <a16:creationId xmlns:a16="http://schemas.microsoft.com/office/drawing/2014/main" id="{119E4D67-14AE-E199-E62F-54BEFD4EAC09}"/>
              </a:ext>
            </a:extLst>
          </p:cNvPr>
          <p:cNvSpPr/>
          <p:nvPr/>
        </p:nvSpPr>
        <p:spPr>
          <a:xfrm>
            <a:off x="9330152" y="4596599"/>
            <a:ext cx="247828" cy="315513"/>
          </a:xfrm>
          <a:prstGeom prst="mathMultiply">
            <a:avLst/>
          </a:prstGeom>
          <a:solidFill>
            <a:schemeClr val="accent6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chemeClr val="tx1"/>
              </a:solidFill>
            </a:endParaRPr>
          </a:p>
        </p:txBody>
      </p:sp>
      <p:sp>
        <p:nvSpPr>
          <p:cNvPr id="538" name="TextBox 537">
            <a:extLst>
              <a:ext uri="{FF2B5EF4-FFF2-40B4-BE49-F238E27FC236}">
                <a16:creationId xmlns:a16="http://schemas.microsoft.com/office/drawing/2014/main" id="{1D1B728D-E96C-1595-933D-5ABA12C9E350}"/>
              </a:ext>
            </a:extLst>
          </p:cNvPr>
          <p:cNvSpPr txBox="1"/>
          <p:nvPr/>
        </p:nvSpPr>
        <p:spPr>
          <a:xfrm>
            <a:off x="5364698" y="1391374"/>
            <a:ext cx="1914540" cy="3385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+mn-lt"/>
              </a:rPr>
              <a:t>Umbuluwane, Danskraal, </a:t>
            </a:r>
            <a:r>
              <a:rPr lang="en-US" sz="800" dirty="0" err="1">
                <a:latin typeface="+mn-lt"/>
              </a:rPr>
              <a:t>Uithoek</a:t>
            </a:r>
            <a:r>
              <a:rPr lang="en-US" sz="800" dirty="0">
                <a:latin typeface="+mn-lt"/>
              </a:rPr>
              <a:t> Signal Theft hot spot.</a:t>
            </a:r>
            <a:endParaRPr lang="en-ZA" sz="800" dirty="0">
              <a:latin typeface="+mn-lt"/>
            </a:endParaRPr>
          </a:p>
        </p:txBody>
      </p:sp>
      <p:cxnSp>
        <p:nvCxnSpPr>
          <p:cNvPr id="539" name="Straight Arrow Connector 538">
            <a:extLst>
              <a:ext uri="{FF2B5EF4-FFF2-40B4-BE49-F238E27FC236}">
                <a16:creationId xmlns:a16="http://schemas.microsoft.com/office/drawing/2014/main" id="{4F7684DD-72B8-15B2-D549-6F5734152962}"/>
              </a:ext>
            </a:extLst>
          </p:cNvPr>
          <p:cNvCxnSpPr>
            <a:cxnSpLocks/>
          </p:cNvCxnSpPr>
          <p:nvPr/>
        </p:nvCxnSpPr>
        <p:spPr>
          <a:xfrm>
            <a:off x="6857713" y="1780471"/>
            <a:ext cx="76255" cy="1123203"/>
          </a:xfrm>
          <a:prstGeom prst="straightConnector1">
            <a:avLst/>
          </a:prstGeom>
          <a:ln w="15875" cap="rnd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0" name="TextBox 539">
            <a:extLst>
              <a:ext uri="{FF2B5EF4-FFF2-40B4-BE49-F238E27FC236}">
                <a16:creationId xmlns:a16="http://schemas.microsoft.com/office/drawing/2014/main" id="{B170AFD4-2200-7AA3-4B5E-5C7F97CE7D31}"/>
              </a:ext>
            </a:extLst>
          </p:cNvPr>
          <p:cNvSpPr txBox="1"/>
          <p:nvPr/>
        </p:nvSpPr>
        <p:spPr>
          <a:xfrm>
            <a:off x="7018238" y="2248826"/>
            <a:ext cx="1622403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800" dirty="0" err="1">
                <a:latin typeface="+mn-lt"/>
              </a:rPr>
              <a:t>Escourt</a:t>
            </a:r>
            <a:r>
              <a:rPr lang="en-US" sz="800" dirty="0">
                <a:latin typeface="+mn-lt"/>
              </a:rPr>
              <a:t>,</a:t>
            </a:r>
            <a:r>
              <a:rPr lang="en-US" sz="800" dirty="0"/>
              <a:t> </a:t>
            </a:r>
            <a:r>
              <a:rPr lang="en-US" sz="800" dirty="0">
                <a:latin typeface="+mn-lt"/>
              </a:rPr>
              <a:t>Frere, Rosetta, Cato Ridge Community Unrest</a:t>
            </a:r>
            <a:endParaRPr lang="en-ZA" sz="800" dirty="0">
              <a:latin typeface="+mn-lt"/>
            </a:endParaRPr>
          </a:p>
        </p:txBody>
      </p:sp>
      <p:cxnSp>
        <p:nvCxnSpPr>
          <p:cNvPr id="541" name="Straight Arrow Connector 540">
            <a:extLst>
              <a:ext uri="{FF2B5EF4-FFF2-40B4-BE49-F238E27FC236}">
                <a16:creationId xmlns:a16="http://schemas.microsoft.com/office/drawing/2014/main" id="{071A39A3-1EAF-A224-D4FA-B5AB90B253FE}"/>
              </a:ext>
            </a:extLst>
          </p:cNvPr>
          <p:cNvCxnSpPr>
            <a:cxnSpLocks/>
            <a:stCxn id="540" idx="2"/>
            <a:endCxn id="446" idx="0"/>
          </p:cNvCxnSpPr>
          <p:nvPr/>
        </p:nvCxnSpPr>
        <p:spPr>
          <a:xfrm>
            <a:off x="7829440" y="2587380"/>
            <a:ext cx="2563" cy="262842"/>
          </a:xfrm>
          <a:prstGeom prst="straightConnector1">
            <a:avLst/>
          </a:prstGeom>
          <a:ln w="15875" cap="rnd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tangle 541">
            <a:extLst>
              <a:ext uri="{FF2B5EF4-FFF2-40B4-BE49-F238E27FC236}">
                <a16:creationId xmlns:a16="http://schemas.microsoft.com/office/drawing/2014/main" id="{7ED581B3-78B7-B65E-BC79-CF9B66E265E3}"/>
              </a:ext>
            </a:extLst>
          </p:cNvPr>
          <p:cNvSpPr/>
          <p:nvPr/>
        </p:nvSpPr>
        <p:spPr>
          <a:xfrm>
            <a:off x="7530921" y="1191870"/>
            <a:ext cx="2310352" cy="6468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r>
              <a:rPr lang="en-US" sz="800" dirty="0"/>
              <a:t>Community Encroachment:</a:t>
            </a:r>
          </a:p>
          <a:p>
            <a:pPr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r>
              <a:rPr lang="en-US" sz="800" dirty="0"/>
              <a:t>Kwa-</a:t>
            </a:r>
            <a:r>
              <a:rPr lang="en-US" sz="800" dirty="0" err="1"/>
              <a:t>Tandaza</a:t>
            </a:r>
            <a:r>
              <a:rPr lang="en-US" sz="800" dirty="0"/>
              <a:t>-</a:t>
            </a:r>
            <a:r>
              <a:rPr lang="en-US" sz="800" dirty="0" err="1"/>
              <a:t>Georgedale</a:t>
            </a:r>
            <a:r>
              <a:rPr lang="en-ZA" sz="800" dirty="0"/>
              <a:t>;  </a:t>
            </a:r>
            <a:r>
              <a:rPr lang="en-US" sz="800" dirty="0" err="1"/>
              <a:t>Cliffdale</a:t>
            </a:r>
            <a:r>
              <a:rPr lang="en-US" sz="800" dirty="0"/>
              <a:t> station to </a:t>
            </a:r>
            <a:r>
              <a:rPr lang="en-US" sz="800" dirty="0" err="1"/>
              <a:t>Bux</a:t>
            </a:r>
            <a:r>
              <a:rPr lang="en-US" sz="800" dirty="0"/>
              <a:t> Farm Level Crossing; </a:t>
            </a:r>
            <a:r>
              <a:rPr lang="en-US" sz="800" dirty="0" err="1"/>
              <a:t>Menzine</a:t>
            </a:r>
            <a:r>
              <a:rPr lang="en-US" sz="800" dirty="0"/>
              <a:t> Tunnel to </a:t>
            </a:r>
            <a:r>
              <a:rPr lang="en-US" sz="800" dirty="0" err="1"/>
              <a:t>Klaarwater</a:t>
            </a:r>
            <a:r>
              <a:rPr lang="en-US" sz="800" dirty="0"/>
              <a:t>; Business Forum disruptions</a:t>
            </a:r>
            <a:endParaRPr lang="en-ZA" sz="800" dirty="0"/>
          </a:p>
        </p:txBody>
      </p:sp>
      <p:pic>
        <p:nvPicPr>
          <p:cNvPr id="543" name="Picture 542">
            <a:extLst>
              <a:ext uri="{FF2B5EF4-FFF2-40B4-BE49-F238E27FC236}">
                <a16:creationId xmlns:a16="http://schemas.microsoft.com/office/drawing/2014/main" id="{E03B6483-3EF2-12D7-41A8-0FC605E275B8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9831532" y="2580538"/>
            <a:ext cx="364278" cy="210161"/>
          </a:xfrm>
          <a:prstGeom prst="rect">
            <a:avLst/>
          </a:prstGeom>
        </p:spPr>
      </p:pic>
      <p:sp>
        <p:nvSpPr>
          <p:cNvPr id="544" name="Multiplication Sign 543">
            <a:extLst>
              <a:ext uri="{FF2B5EF4-FFF2-40B4-BE49-F238E27FC236}">
                <a16:creationId xmlns:a16="http://schemas.microsoft.com/office/drawing/2014/main" id="{5BB0764F-0B77-680D-E1C9-6EB5B49A0979}"/>
              </a:ext>
            </a:extLst>
          </p:cNvPr>
          <p:cNvSpPr/>
          <p:nvPr/>
        </p:nvSpPr>
        <p:spPr>
          <a:xfrm>
            <a:off x="9428515" y="3164959"/>
            <a:ext cx="247828" cy="315513"/>
          </a:xfrm>
          <a:prstGeom prst="mathMultiply">
            <a:avLst/>
          </a:prstGeom>
          <a:solidFill>
            <a:schemeClr val="accent6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chemeClr val="tx1"/>
              </a:solidFill>
            </a:endParaRPr>
          </a:p>
        </p:txBody>
      </p:sp>
      <p:sp>
        <p:nvSpPr>
          <p:cNvPr id="545" name="TextBox 544">
            <a:extLst>
              <a:ext uri="{FF2B5EF4-FFF2-40B4-BE49-F238E27FC236}">
                <a16:creationId xmlns:a16="http://schemas.microsoft.com/office/drawing/2014/main" id="{5F0412BB-2116-F468-95CC-D96C4741A5CA}"/>
              </a:ext>
            </a:extLst>
          </p:cNvPr>
          <p:cNvSpPr txBox="1"/>
          <p:nvPr/>
        </p:nvSpPr>
        <p:spPr>
          <a:xfrm>
            <a:off x="2908408" y="3837810"/>
            <a:ext cx="1695200" cy="3385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800" dirty="0" err="1">
                <a:latin typeface="+mn-lt"/>
              </a:rPr>
              <a:t>Driemanskap</a:t>
            </a:r>
            <a:r>
              <a:rPr lang="en-US" sz="800" dirty="0">
                <a:latin typeface="+mn-lt"/>
              </a:rPr>
              <a:t> – </a:t>
            </a:r>
            <a:r>
              <a:rPr lang="en-US" sz="800" dirty="0" err="1">
                <a:latin typeface="+mn-lt"/>
              </a:rPr>
              <a:t>Mapelton</a:t>
            </a:r>
            <a:r>
              <a:rPr lang="en-US" sz="800" dirty="0">
                <a:latin typeface="+mn-lt"/>
              </a:rPr>
              <a:t> - </a:t>
            </a:r>
            <a:r>
              <a:rPr lang="en-US" sz="800" dirty="0" err="1">
                <a:latin typeface="+mn-lt"/>
              </a:rPr>
              <a:t>Rooikop</a:t>
            </a:r>
            <a:r>
              <a:rPr lang="en-US" sz="800" dirty="0">
                <a:latin typeface="+mn-lt"/>
              </a:rPr>
              <a:t> – OHTE Theft hot spot.</a:t>
            </a:r>
            <a:endParaRPr lang="en-ZA" sz="800" dirty="0">
              <a:latin typeface="+mn-lt"/>
            </a:endParaRPr>
          </a:p>
        </p:txBody>
      </p:sp>
      <p:cxnSp>
        <p:nvCxnSpPr>
          <p:cNvPr id="546" name="Straight Arrow Connector 545">
            <a:extLst>
              <a:ext uri="{FF2B5EF4-FFF2-40B4-BE49-F238E27FC236}">
                <a16:creationId xmlns:a16="http://schemas.microsoft.com/office/drawing/2014/main" id="{76F89B6A-540E-2393-09DC-10FB13A0BDAF}"/>
              </a:ext>
            </a:extLst>
          </p:cNvPr>
          <p:cNvCxnSpPr>
            <a:cxnSpLocks/>
            <a:endCxn id="545" idx="0"/>
          </p:cNvCxnSpPr>
          <p:nvPr/>
        </p:nvCxnSpPr>
        <p:spPr>
          <a:xfrm>
            <a:off x="3744744" y="3297273"/>
            <a:ext cx="11264" cy="540537"/>
          </a:xfrm>
          <a:prstGeom prst="straightConnector1">
            <a:avLst/>
          </a:prstGeom>
          <a:ln w="15875" cap="rnd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7" name="Picture 546">
            <a:extLst>
              <a:ext uri="{FF2B5EF4-FFF2-40B4-BE49-F238E27FC236}">
                <a16:creationId xmlns:a16="http://schemas.microsoft.com/office/drawing/2014/main" id="{74601E8E-9B84-0FFD-825C-F8B644742FE6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3689589" y="3140959"/>
            <a:ext cx="317019" cy="182896"/>
          </a:xfrm>
          <a:prstGeom prst="rect">
            <a:avLst/>
          </a:prstGeom>
        </p:spPr>
      </p:pic>
      <p:sp>
        <p:nvSpPr>
          <p:cNvPr id="548" name="TextBox 547">
            <a:extLst>
              <a:ext uri="{FF2B5EF4-FFF2-40B4-BE49-F238E27FC236}">
                <a16:creationId xmlns:a16="http://schemas.microsoft.com/office/drawing/2014/main" id="{0C2EC1B1-3225-089A-7C50-D51090B478AD}"/>
              </a:ext>
            </a:extLst>
          </p:cNvPr>
          <p:cNvSpPr txBox="1"/>
          <p:nvPr/>
        </p:nvSpPr>
        <p:spPr>
          <a:xfrm>
            <a:off x="2811268" y="2142888"/>
            <a:ext cx="1100204" cy="4616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+mn-lt"/>
              </a:rPr>
              <a:t>Community encroachment at </a:t>
            </a:r>
            <a:r>
              <a:rPr lang="en-US" sz="800" dirty="0" err="1">
                <a:latin typeface="+mn-lt"/>
              </a:rPr>
              <a:t>Rooikop</a:t>
            </a:r>
            <a:endParaRPr lang="en-ZA" sz="800" dirty="0">
              <a:latin typeface="+mn-lt"/>
            </a:endParaRPr>
          </a:p>
        </p:txBody>
      </p:sp>
      <p:sp>
        <p:nvSpPr>
          <p:cNvPr id="549" name="TextBox 548">
            <a:extLst>
              <a:ext uri="{FF2B5EF4-FFF2-40B4-BE49-F238E27FC236}">
                <a16:creationId xmlns:a16="http://schemas.microsoft.com/office/drawing/2014/main" id="{17D44AF8-4593-D418-B54C-90F4B0F5F5FE}"/>
              </a:ext>
            </a:extLst>
          </p:cNvPr>
          <p:cNvSpPr txBox="1"/>
          <p:nvPr/>
        </p:nvSpPr>
        <p:spPr>
          <a:xfrm>
            <a:off x="4704640" y="3704897"/>
            <a:ext cx="1253660" cy="4616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+mn-lt"/>
              </a:rPr>
              <a:t>Community Unrest in Standerton – shutdown works impacted</a:t>
            </a:r>
            <a:endParaRPr lang="en-ZA" sz="800" dirty="0">
              <a:latin typeface="+mn-lt"/>
            </a:endParaRPr>
          </a:p>
        </p:txBody>
      </p:sp>
      <p:cxnSp>
        <p:nvCxnSpPr>
          <p:cNvPr id="550" name="Straight Arrow Connector 549">
            <a:extLst>
              <a:ext uri="{FF2B5EF4-FFF2-40B4-BE49-F238E27FC236}">
                <a16:creationId xmlns:a16="http://schemas.microsoft.com/office/drawing/2014/main" id="{715E56EA-295E-6AFD-678A-026A57F8E718}"/>
              </a:ext>
            </a:extLst>
          </p:cNvPr>
          <p:cNvCxnSpPr>
            <a:cxnSpLocks/>
            <a:endCxn id="462" idx="2"/>
          </p:cNvCxnSpPr>
          <p:nvPr/>
        </p:nvCxnSpPr>
        <p:spPr>
          <a:xfrm>
            <a:off x="3293092" y="2678594"/>
            <a:ext cx="320591" cy="484944"/>
          </a:xfrm>
          <a:prstGeom prst="straightConnector1">
            <a:avLst/>
          </a:prstGeom>
          <a:ln w="15875" cap="rnd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1" name="Rectangle: Folded Corner 550">
            <a:extLst>
              <a:ext uri="{FF2B5EF4-FFF2-40B4-BE49-F238E27FC236}">
                <a16:creationId xmlns:a16="http://schemas.microsoft.com/office/drawing/2014/main" id="{2F2E5D26-C686-5FD3-B9CB-19FA010F0178}"/>
              </a:ext>
            </a:extLst>
          </p:cNvPr>
          <p:cNvSpPr/>
          <p:nvPr/>
        </p:nvSpPr>
        <p:spPr>
          <a:xfrm>
            <a:off x="4075245" y="5118951"/>
            <a:ext cx="2858723" cy="1069507"/>
          </a:xfrm>
          <a:prstGeom prst="foldedCorner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endParaRPr lang="en-ZA" sz="800" b="1" dirty="0">
              <a:solidFill>
                <a:schemeClr val="tx1"/>
              </a:solidFill>
            </a:endParaRPr>
          </a:p>
          <a:p>
            <a:r>
              <a:rPr lang="en-ZA" sz="800" b="1" dirty="0">
                <a:solidFill>
                  <a:schemeClr val="tx1"/>
                </a:solidFill>
              </a:rPr>
              <a:t>Rural development and informal housing along railway reserve </a:t>
            </a:r>
            <a:r>
              <a:rPr lang="en-ZA" sz="800" dirty="0">
                <a:solidFill>
                  <a:schemeClr val="tx1"/>
                </a:solidFill>
              </a:rPr>
              <a:t>on either side is increasing ;</a:t>
            </a:r>
            <a:r>
              <a:rPr lang="en-ZA" altLang="en-US" sz="800" dirty="0">
                <a:solidFill>
                  <a:schemeClr val="tx1"/>
                </a:solidFill>
              </a:rPr>
              <a:t> </a:t>
            </a:r>
            <a:r>
              <a:rPr lang="en-ZA" sz="800" dirty="0">
                <a:solidFill>
                  <a:schemeClr val="tx1"/>
                </a:solidFill>
              </a:rPr>
              <a:t>Topographical and geographical layout of the track in relation to the reserve makes it difficult to distinguish boundary lines; Children and adults cross the tracks to gain access to roads on the opposite sides to access transportation to school and work; No access due to poor municipal town planning and land invasion of informal development.</a:t>
            </a:r>
          </a:p>
        </p:txBody>
      </p:sp>
      <p:sp>
        <p:nvSpPr>
          <p:cNvPr id="552" name="Rectangle: Folded Corner 551">
            <a:extLst>
              <a:ext uri="{FF2B5EF4-FFF2-40B4-BE49-F238E27FC236}">
                <a16:creationId xmlns:a16="http://schemas.microsoft.com/office/drawing/2014/main" id="{E4BE6E27-68F9-DF09-0A10-F40AD383C23E}"/>
              </a:ext>
            </a:extLst>
          </p:cNvPr>
          <p:cNvSpPr/>
          <p:nvPr/>
        </p:nvSpPr>
        <p:spPr>
          <a:xfrm>
            <a:off x="1348130" y="5125553"/>
            <a:ext cx="2407878" cy="1051969"/>
          </a:xfrm>
          <a:prstGeom prst="foldedCorner">
            <a:avLst/>
          </a:prstGeom>
          <a:solidFill>
            <a:schemeClr val="accent5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endParaRPr lang="en-ZA" sz="800" b="1" i="1" dirty="0">
              <a:solidFill>
                <a:schemeClr val="tx1"/>
              </a:solidFill>
            </a:endParaRPr>
          </a:p>
          <a:p>
            <a:r>
              <a:rPr lang="en-US" sz="800" b="1" dirty="0">
                <a:solidFill>
                  <a:schemeClr val="bg1"/>
                </a:solidFill>
              </a:rPr>
              <a:t>Key  Challeng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bg1"/>
                </a:solidFill>
              </a:rPr>
              <a:t>Exposed Cables across the Network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bg1"/>
                </a:solidFill>
              </a:rPr>
              <a:t>Vegetation and Service Road Condit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bg1"/>
                </a:solidFill>
              </a:rPr>
              <a:t>Slot Capacity reduced due to OHTE and signal Theft across the net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bg1"/>
                </a:solidFill>
              </a:rPr>
              <a:t>Continuous operational disruptions; high cost of replacement; planned maintenance impacted; customer quality of service impacted</a:t>
            </a:r>
            <a:endParaRPr lang="en-ZA" sz="800" dirty="0">
              <a:solidFill>
                <a:schemeClr val="bg1"/>
              </a:solidFill>
            </a:endParaRPr>
          </a:p>
        </p:txBody>
      </p:sp>
      <p:sp>
        <p:nvSpPr>
          <p:cNvPr id="553" name="Multiplication Sign 552">
            <a:extLst>
              <a:ext uri="{FF2B5EF4-FFF2-40B4-BE49-F238E27FC236}">
                <a16:creationId xmlns:a16="http://schemas.microsoft.com/office/drawing/2014/main" id="{31D41D81-D8A7-9546-3831-1301BF796378}"/>
              </a:ext>
            </a:extLst>
          </p:cNvPr>
          <p:cNvSpPr/>
          <p:nvPr/>
        </p:nvSpPr>
        <p:spPr>
          <a:xfrm>
            <a:off x="3488861" y="3114271"/>
            <a:ext cx="247828" cy="315513"/>
          </a:xfrm>
          <a:prstGeom prst="mathMultiply">
            <a:avLst/>
          </a:prstGeom>
          <a:solidFill>
            <a:schemeClr val="accent6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chemeClr val="tx1"/>
              </a:solidFill>
            </a:endParaRPr>
          </a:p>
        </p:txBody>
      </p:sp>
      <p:sp>
        <p:nvSpPr>
          <p:cNvPr id="554" name="Multiplication Sign 553">
            <a:extLst>
              <a:ext uri="{FF2B5EF4-FFF2-40B4-BE49-F238E27FC236}">
                <a16:creationId xmlns:a16="http://schemas.microsoft.com/office/drawing/2014/main" id="{EC6892C8-0E34-ED80-6466-3E5B7A1D7653}"/>
              </a:ext>
            </a:extLst>
          </p:cNvPr>
          <p:cNvSpPr/>
          <p:nvPr/>
        </p:nvSpPr>
        <p:spPr>
          <a:xfrm>
            <a:off x="8172569" y="2962381"/>
            <a:ext cx="247828" cy="315513"/>
          </a:xfrm>
          <a:prstGeom prst="mathMultiply">
            <a:avLst/>
          </a:prstGeom>
          <a:solidFill>
            <a:schemeClr val="accent6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5248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3C2A12-E8C0-337D-3130-F60E60EA6D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Title 1">
            <a:extLst>
              <a:ext uri="{FF2B5EF4-FFF2-40B4-BE49-F238E27FC236}">
                <a16:creationId xmlns:a16="http://schemas.microsoft.com/office/drawing/2014/main" id="{C08E7461-37A4-9C78-BC58-246400BA1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927" y="531564"/>
            <a:ext cx="10458450" cy="495372"/>
          </a:xfrm>
        </p:spPr>
        <p:txBody>
          <a:bodyPr vert="horz" anchor="t"/>
          <a:lstStyle/>
          <a:p>
            <a:r>
              <a:rPr lang="en-ZA" altLang="en-US" sz="2400" dirty="0">
                <a:solidFill>
                  <a:schemeClr val="tx1"/>
                </a:solidFill>
              </a:rPr>
              <a:t>Purpose of the project</a:t>
            </a:r>
            <a:br>
              <a:rPr lang="en-ZA" altLang="en-US" sz="2400" dirty="0">
                <a:solidFill>
                  <a:schemeClr val="tx1"/>
                </a:solidFill>
              </a:rPr>
            </a:br>
            <a:endParaRPr lang="en-US" sz="2300" b="0" dirty="0">
              <a:solidFill>
                <a:schemeClr val="tx1"/>
              </a:solidFill>
            </a:endParaRPr>
          </a:p>
        </p:txBody>
      </p:sp>
      <p:sp>
        <p:nvSpPr>
          <p:cNvPr id="488" name="TextBox 487">
            <a:extLst>
              <a:ext uri="{FF2B5EF4-FFF2-40B4-BE49-F238E27FC236}">
                <a16:creationId xmlns:a16="http://schemas.microsoft.com/office/drawing/2014/main" id="{BB2528D4-45CE-885C-5243-8EE5329E9686}"/>
              </a:ext>
            </a:extLst>
          </p:cNvPr>
          <p:cNvSpPr txBox="1"/>
          <p:nvPr/>
        </p:nvSpPr>
        <p:spPr>
          <a:xfrm>
            <a:off x="550718" y="1681565"/>
            <a:ext cx="11440391" cy="12824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Given the high level of losses associated with theft of containers and cargo, TRIM, intends to implement an intelligent driven smart container locking system and services contract to </a:t>
            </a:r>
            <a:r>
              <a:rPr lang="en-GB" b="1" dirty="0"/>
              <a:t>reduce theft of containers and cargo in transit, Marshalling Yards, as well as Container Terminals</a:t>
            </a:r>
            <a:r>
              <a:rPr lang="en-GB" dirty="0"/>
              <a:t>.</a:t>
            </a:r>
            <a:endParaRPr lang="en-US" sz="700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935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22263-58B8-425C-96BE-1AA33AE60E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Title 1">
            <a:extLst>
              <a:ext uri="{FF2B5EF4-FFF2-40B4-BE49-F238E27FC236}">
                <a16:creationId xmlns:a16="http://schemas.microsoft.com/office/drawing/2014/main" id="{3BD0EAF3-1932-B54B-00BF-916183101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927" y="531564"/>
            <a:ext cx="10458450" cy="495372"/>
          </a:xfrm>
        </p:spPr>
        <p:txBody>
          <a:bodyPr vert="horz" anchor="t"/>
          <a:lstStyle/>
          <a:p>
            <a:r>
              <a:rPr lang="en-ZA" altLang="en-US" sz="2400" dirty="0">
                <a:solidFill>
                  <a:schemeClr val="tx1"/>
                </a:solidFill>
              </a:rPr>
              <a:t>Evaluation criteria</a:t>
            </a:r>
            <a:br>
              <a:rPr lang="en-ZA" altLang="en-US" sz="2400" dirty="0">
                <a:solidFill>
                  <a:schemeClr val="tx1"/>
                </a:solidFill>
              </a:rPr>
            </a:br>
            <a:endParaRPr lang="en-US" sz="2300" b="0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BEB6FC-1DCF-6EE1-89A1-B5DF5E78A1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7774" y="2234141"/>
            <a:ext cx="9280603" cy="409229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333EE2F-6EA3-AEA1-44EF-DF3C7139DF6E}"/>
              </a:ext>
            </a:extLst>
          </p:cNvPr>
          <p:cNvSpPr txBox="1"/>
          <p:nvPr/>
        </p:nvSpPr>
        <p:spPr>
          <a:xfrm>
            <a:off x="1002600" y="1445872"/>
            <a:ext cx="117920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Transnet will utilise the following methodology and criteria in selecting a preferred Bidding company</a:t>
            </a:r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9146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214FF3-5707-AF04-9F7D-E23963D69A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817303D-7414-F5F9-1519-B5B77FB4E77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996" y="4875196"/>
            <a:ext cx="8461876" cy="933933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5" name="Text Placeholder 521">
            <a:extLst>
              <a:ext uri="{FF2B5EF4-FFF2-40B4-BE49-F238E27FC236}">
                <a16:creationId xmlns:a16="http://schemas.microsoft.com/office/drawing/2014/main" id="{BF6209CF-E7B1-DE0C-63FD-D4AD0AB446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64325" y="2962033"/>
            <a:ext cx="4533675" cy="933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36000" rIns="91440" bIns="36000" numCol="1" anchor="ctr" anchorCtr="0" compatLnSpc="1">
            <a:prstTxWarp prst="textNoShape">
              <a:avLst/>
            </a:prstTxWarp>
          </a:bodyPr>
          <a:lstStyle>
            <a:lvl1pPr marL="0" indent="0" algn="l" defTabSz="779173" rtl="0" eaLnBrk="1" latinLnBrk="0" hangingPunct="1">
              <a:lnSpc>
                <a:spcPct val="110000"/>
              </a:lnSpc>
              <a:spcBef>
                <a:spcPts val="1023"/>
              </a:spcBef>
              <a:spcAft>
                <a:spcPts val="341"/>
              </a:spcAft>
              <a:buFont typeface="Arial" pitchFamily="34" charset="0"/>
              <a:buNone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228612" indent="-142037" algn="l" defTabSz="779173" rtl="0" eaLnBrk="1" latinLnBrk="0" hangingPunct="1">
              <a:lnSpc>
                <a:spcPct val="110000"/>
              </a:lnSpc>
              <a:spcBef>
                <a:spcPts val="171"/>
              </a:spcBef>
              <a:spcAft>
                <a:spcPts val="171"/>
              </a:spcAft>
              <a:buFont typeface="Arial" pitchFamily="34" charset="0"/>
              <a:buChar char="•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1623" indent="-160976" algn="l" defTabSz="779173" rtl="0" eaLnBrk="1" latinLnBrk="0" hangingPunct="1">
              <a:lnSpc>
                <a:spcPct val="110000"/>
              </a:lnSpc>
              <a:spcBef>
                <a:spcPts val="85"/>
              </a:spcBef>
              <a:spcAft>
                <a:spcPts val="171"/>
              </a:spcAft>
              <a:buFont typeface="Arial" pitchFamily="34" charset="0"/>
              <a:buChar char="›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64293" indent="-155565" algn="l" defTabSz="779173" rtl="0" eaLnBrk="1" latinLnBrk="0" hangingPunct="1">
              <a:lnSpc>
                <a:spcPct val="110000"/>
              </a:lnSpc>
              <a:spcBef>
                <a:spcPts val="85"/>
              </a:spcBef>
              <a:spcAft>
                <a:spcPts val="171"/>
              </a:spcAft>
              <a:buFont typeface="Arial" pitchFamily="34" charset="0"/>
              <a:buChar char="–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8126" indent="-156917" algn="l" defTabSz="779173" rtl="0" eaLnBrk="1" latinLnBrk="0" hangingPunct="1">
              <a:lnSpc>
                <a:spcPct val="110000"/>
              </a:lnSpc>
              <a:spcBef>
                <a:spcPts val="85"/>
              </a:spcBef>
              <a:spcAft>
                <a:spcPts val="171"/>
              </a:spcAft>
              <a:buFont typeface="Arial" pitchFamily="34" charset="0"/>
              <a:buChar char="»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42725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312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1898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484" indent="-194793" algn="l" defTabSz="7791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79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1" i="0" u="none" strike="noStrike" kern="0" cap="none" spc="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ANK YOU</a:t>
            </a:r>
            <a:endParaRPr kumimoji="0" lang="en-US" sz="2000" b="0" i="1" u="none" strike="noStrike" kern="0" cap="none" spc="1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6852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0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7.59934962146172487962E+00&quot;&gt;&lt;m_msothmcolidx val=&quot;0&quot;/&gt;&lt;m_rgb r=&quot;68&quot; g=&quot;B8&quot; b=&quot;0E&quot;/&gt;&lt;/elem&gt;&lt;elem m_fUsage=&quot;1.43825719749853142559E+00&quot;&gt;&lt;m_msothmcolidx val=&quot;0&quot;/&gt;&lt;m_rgb r=&quot;E9&quot; g=&quot;97&quot; b=&quot;00&quot;/&gt;&lt;/elem&gt;&lt;elem m_fUsage=&quot;9.44918572671000100982E-01&quot;&gt;&lt;m_msothmcolidx val=&quot;0&quot;/&gt;&lt;m_rgb r=&quot;FD&quot; g=&quot;39&quot; b=&quot;65&quot;/&gt;&lt;/elem&gt;&lt;elem m_fUsage=&quot;1.74730873523110431800E-02&quot;&gt;&lt;m_msothmcolidx val=&quot;0&quot;/&gt;&lt;m_rgb r=&quot;92&quot; g=&quot;D0&quot; b=&quot;50&quot;/&gt;&lt;/elem&gt;&lt;elem m_fUsage=&quot;8.20861405315621966961E-07&quot;&gt;&lt;m_msothmcolidx val=&quot;0&quot;/&gt;&lt;m_rgb r=&quot;2B&quot; g=&quot;21&quot; b=&quot;1E&quot;/&gt;&lt;/elem&gt;&lt;elem m_fUsage=&quot;1.10882098037457025801E-07&quot;&gt;&lt;m_msothmcolidx val=&quot;0&quot;/&gt;&lt;m_rgb r=&quot;2E&quot; g=&quot;23&quot; b=&quot;2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1Hg_R48ESGszx5hsBgs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1Hg_R48ESGszx5hsBg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oqGqcWGkO25_0x2KQM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bHjW8AM0qW9pK2XIww7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me5VJhb0GQOXSjnp44.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1Ek7GVTkOw5KOQB_9d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RWZmTaOEu2bc2JuaF8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3tOiApjUqcEZhbYLxk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9XVPu5gEazDBMwbVEzn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k9BnnEvEG4fxdgAekG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V5rIKqTE2aiKA5NOpe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CQkk_ejEKegngfkjPk7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1Hg_R48ESGszx5hsBg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oiMYJG8UaUWoGG6Aob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XP0ymtgEmIpnY4gV5Y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mMpKz94EWy8HTe5HJV1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14WbO9pkeDdWn_KqJM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SnmX8DjUyz64RGl_L4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OFWfa6w0GxlB3BQbTT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QisDE8jkG7nVDcmeNFJ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1fD8Q6Um9DWCY6NRs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RxBVwSSU6u7Z2og5LX0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_0JdD1EmV7sOuBtV1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IWdLD8hE6tRWWi7cbO1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nCSJwp3EKLT2yx5ZvB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DJucI.3EySvWXwB2Rm.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ColwacuU.89t4ganhnQ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O_FNbS.E6w6RpVOPno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fWbImS10qxE5_FloYu.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ntlEw6EWNUf0SEwj.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oKnL0mn0qYk7mep.Lm1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SHJl1sZUitzK1o16Yy8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m3lRwOAU6AvPLTyWeG6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4qtwlFJ0Cx7WI9TYlF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nZdzn2pkaxEzSkGIv6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X_4CiMkUS7lDv1oEopk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87ot3z2kqtpSw1GtePu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9jZEthoUiAGSxG6atI.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Xz85StzkeQQo2txXXv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5YfvdxSESyg1OJCl3Z6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XV5E31tEicFEBJUE9au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TLe4CFgkyvc_rCYPz7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.EIZTDaEyncj5bMcVqO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vPR6Pz7UCOmM0hRAxDX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8V7KR85U6UYaGGCosd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y4VSRvqE64YJrvjU33r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CbGnst3ECdFBK9pn.Yv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Wrf1YzMUmLQ8Qbx0d7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nQK4fkv0iSrCKbwX_Kn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qrwtOHB0KDIV8QH7I8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XV7UMhv0SrXJ0GB4hK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BxycHS_Ui_2HleBRXBi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aW6I_phkif5ZyySNgAn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W5EnN5akWMD4cUL5r0y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8lrdyq602kRZ.QZXvv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bjO96Gg0u6T8E5DWOqd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Cg0xv5_EK3smpVgZP04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NKV_DVNEuRubxJF_Rc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P4Yd8GBE68256aPxlPD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UO6jeAjkWh3CqdJBVxj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R2KRaxEK3hUM_1Ji2A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EnOxNpUWgy9nqippn5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81U7rh5Ue9sIveBdAU7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F2.6fSDkiiGliu.Yw9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1fD8Q6Um9DWCY6NRs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XV7UMhv0SrXJ0GB4hKS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7OAfYu0SzVWoj4juU2g"/>
  <p:tag name="NAME" val="OvalTex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XV7UMhv0SrXJ0GB4hK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1fD8Q6Um9DWCY6NRs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XV7UMhv0SrXJ0GB4hKS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1fD8Q6Um9DWCY6NRsP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QisDE8jkG7nVDcmeNFJ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XV7UMhv0SrXJ0GB4hK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BEMV74VEGKYEKyJU5Cs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XV7UMhv0SrXJ0GB4hKS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QisDE8jkG7nVDcmeNFJ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QisDE8jkG7nVDcmeNFJ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fWbImS10qxE5_FloYu.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R2KRaxEK3hUM_1Ji2A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9XVPu5gEazDBMwbVEzn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UO6jeAjkWh3CqdJBVxj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8V7KR85U6UYaGGCosdr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oKnL0mn0qYk7mep.Lm1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34ztbvRYfa1QjwBSSEs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Xz85StzkeQQo2txXXvf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Xz85StzkeQQo2txXXvf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1Hg_R48ESGszx5hsBgs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1Hg_R48ESGszx5hsBgsQ"/>
</p:tagLst>
</file>

<file path=ppt/theme/theme1.xml><?xml version="1.0" encoding="utf-8"?>
<a:theme xmlns:a="http://schemas.openxmlformats.org/drawingml/2006/main" name="1_TEMPLATE MASTER">
  <a:themeElements>
    <a:clrScheme name="Transnet">
      <a:dk1>
        <a:srgbClr val="000000"/>
      </a:dk1>
      <a:lt1>
        <a:sysClr val="window" lastClr="FFFFFF"/>
      </a:lt1>
      <a:dk2>
        <a:srgbClr val="69614E"/>
      </a:dk2>
      <a:lt2>
        <a:srgbClr val="C2BBAD"/>
      </a:lt2>
      <a:accent1>
        <a:srgbClr val="A1A250"/>
      </a:accent1>
      <a:accent2>
        <a:srgbClr val="6F90A7"/>
      </a:accent2>
      <a:accent3>
        <a:srgbClr val="84B5BD"/>
      </a:accent3>
      <a:accent4>
        <a:srgbClr val="C7B400"/>
      </a:accent4>
      <a:accent5>
        <a:srgbClr val="E42313"/>
      </a:accent5>
      <a:accent6>
        <a:srgbClr val="95C11F"/>
      </a:accent6>
      <a:hlink>
        <a:srgbClr val="00B0F0"/>
      </a:hlink>
      <a:folHlink>
        <a:srgbClr val="7030A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1_TEMPLATE MASTER">
  <a:themeElements>
    <a:clrScheme name="Transnet colours">
      <a:dk1>
        <a:srgbClr val="000000"/>
      </a:dk1>
      <a:lt1>
        <a:srgbClr val="FFFFFF"/>
      </a:lt1>
      <a:dk2>
        <a:srgbClr val="69614E"/>
      </a:dk2>
      <a:lt2>
        <a:srgbClr val="C2BBAD"/>
      </a:lt2>
      <a:accent1>
        <a:srgbClr val="D32E12"/>
      </a:accent1>
      <a:accent2>
        <a:srgbClr val="7DBA00"/>
      </a:accent2>
      <a:accent3>
        <a:srgbClr val="66594D"/>
      </a:accent3>
      <a:accent4>
        <a:srgbClr val="8C934D"/>
      </a:accent4>
      <a:accent5>
        <a:srgbClr val="7D8F28"/>
      </a:accent5>
      <a:accent6>
        <a:srgbClr val="5C788F"/>
      </a:accent6>
      <a:hlink>
        <a:srgbClr val="87ADB0"/>
      </a:hlink>
      <a:folHlink>
        <a:srgbClr val="E9970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E63C2B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2_TEMPLATE MASTER">
  <a:themeElements>
    <a:clrScheme name="Transnet colours">
      <a:dk1>
        <a:srgbClr val="000000"/>
      </a:dk1>
      <a:lt1>
        <a:srgbClr val="FFFFFF"/>
      </a:lt1>
      <a:dk2>
        <a:srgbClr val="69614E"/>
      </a:dk2>
      <a:lt2>
        <a:srgbClr val="C2BBAD"/>
      </a:lt2>
      <a:accent1>
        <a:srgbClr val="D32E12"/>
      </a:accent1>
      <a:accent2>
        <a:srgbClr val="7DBA00"/>
      </a:accent2>
      <a:accent3>
        <a:srgbClr val="66594D"/>
      </a:accent3>
      <a:accent4>
        <a:srgbClr val="8C934D"/>
      </a:accent4>
      <a:accent5>
        <a:srgbClr val="7D8F28"/>
      </a:accent5>
      <a:accent6>
        <a:srgbClr val="5C788F"/>
      </a:accent6>
      <a:hlink>
        <a:srgbClr val="87ADB0"/>
      </a:hlink>
      <a:folHlink>
        <a:srgbClr val="E9970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E63C2B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3_TEMPLATE MASTER">
  <a:themeElements>
    <a:clrScheme name="Transnet">
      <a:dk1>
        <a:srgbClr val="000000"/>
      </a:dk1>
      <a:lt1>
        <a:sysClr val="window" lastClr="FFFFFF"/>
      </a:lt1>
      <a:dk2>
        <a:srgbClr val="69614E"/>
      </a:dk2>
      <a:lt2>
        <a:srgbClr val="C2BBAD"/>
      </a:lt2>
      <a:accent1>
        <a:srgbClr val="A1A250"/>
      </a:accent1>
      <a:accent2>
        <a:srgbClr val="6F90A7"/>
      </a:accent2>
      <a:accent3>
        <a:srgbClr val="84B5BD"/>
      </a:accent3>
      <a:accent4>
        <a:srgbClr val="C7B400"/>
      </a:accent4>
      <a:accent5>
        <a:srgbClr val="E42313"/>
      </a:accent5>
      <a:accent6>
        <a:srgbClr val="95C11F"/>
      </a:accent6>
      <a:hlink>
        <a:srgbClr val="00B0F0"/>
      </a:hlink>
      <a:folHlink>
        <a:srgbClr val="7030A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pproval_x0020_Required xmlns="6f7b4a7f-d44a-4f65-a9aa-96ec94e426e4">No</Approval_x0020_Required>
    <Approvers xmlns="6f7b4a7f-d44a-4f65-a9aa-96ec94e426e4">
      <UserInfo>
        <DisplayName/>
        <AccountId xsi:nil="true"/>
        <AccountType/>
      </UserInfo>
    </Approvers>
    <Approve_x0020_Stage xmlns="6f7b4a7f-d44a-4f65-a9aa-96ec94e426e4" xsi:nil="true"/>
    <_activity xmlns="ac13aef0-e3c2-451b-8a0f-fa27211fa617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E86CADFC83C284AABA02E67EAA9A784" ma:contentTypeVersion="30" ma:contentTypeDescription="Create a new document." ma:contentTypeScope="" ma:versionID="b0ef865790c21dd049bce1bdf5952a3a">
  <xsd:schema xmlns:xsd="http://www.w3.org/2001/XMLSchema" xmlns:xs="http://www.w3.org/2001/XMLSchema" xmlns:p="http://schemas.microsoft.com/office/2006/metadata/properties" xmlns:ns1="http://schemas.microsoft.com/sharepoint/v3" xmlns:ns3="6f7b4a7f-d44a-4f65-a9aa-96ec94e426e4" xmlns:ns4="ac13aef0-e3c2-451b-8a0f-fa27211fa617" xmlns:ns5="584e2a90-0a3d-4822-aa79-a49007aaf019" targetNamespace="http://schemas.microsoft.com/office/2006/metadata/properties" ma:root="true" ma:fieldsID="4072739b0b61d8bb9e0ddfabc6763e0d" ns1:_="" ns3:_="" ns4:_="" ns5:_="">
    <xsd:import namespace="http://schemas.microsoft.com/sharepoint/v3"/>
    <xsd:import namespace="6f7b4a7f-d44a-4f65-a9aa-96ec94e426e4"/>
    <xsd:import namespace="ac13aef0-e3c2-451b-8a0f-fa27211fa617"/>
    <xsd:import namespace="584e2a90-0a3d-4822-aa79-a49007aaf019"/>
    <xsd:element name="properties">
      <xsd:complexType>
        <xsd:sequence>
          <xsd:element name="documentManagement">
            <xsd:complexType>
              <xsd:all>
                <xsd:element ref="ns3:Approval_x0020_Required" minOccurs="0"/>
                <xsd:element ref="ns3:Approvers" minOccurs="0"/>
                <xsd:element ref="ns3:Approve_x0020_Stage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DateTaken" minOccurs="0"/>
                <xsd:element ref="ns5:SharedWithUsers" minOccurs="0"/>
                <xsd:element ref="ns5:SharedWithDetails" minOccurs="0"/>
                <xsd:element ref="ns5:SharingHintHash" minOccurs="0"/>
                <xsd:element ref="ns4:MediaLengthInSeconds" minOccurs="0"/>
                <xsd:element ref="ns4:_activity" minOccurs="0"/>
                <xsd:element ref="ns1:_ip_UnifiedCompliancePolicyProperties" minOccurs="0"/>
                <xsd:element ref="ns1:_ip_UnifiedCompliancePolicyUIAction" minOccurs="0"/>
                <xsd:element ref="ns4:MediaServiceObjectDetectorVersions" minOccurs="0"/>
                <xsd:element ref="ns4:MediaServiceSearchProperties" minOccurs="0"/>
                <xsd:element ref="ns4:MediaServiceSystemTag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7b4a7f-d44a-4f65-a9aa-96ec94e426e4" elementFormDefault="qualified">
    <xsd:import namespace="http://schemas.microsoft.com/office/2006/documentManagement/types"/>
    <xsd:import namespace="http://schemas.microsoft.com/office/infopath/2007/PartnerControls"/>
    <xsd:element name="Approval_x0020_Required" ma:index="8" nillable="true" ma:displayName="Approval Required" ma:default="No" ma:format="Dropdown" ma:internalName="Approval_x0020_Required">
      <xsd:simpleType>
        <xsd:restriction base="dms:Choice">
          <xsd:enumeration value="No"/>
          <xsd:enumeration value="Yes"/>
        </xsd:restriction>
      </xsd:simpleType>
    </xsd:element>
    <xsd:element name="Approvers" ma:index="9" nillable="true" ma:displayName="Approvers" ma:list="UserInfo" ma:SharePointGroup="0" ma:internalName="Approvers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Approve_x0020_Stage" ma:index="10" nillable="true" ma:displayName="Approve Stage" ma:format="Dropdown" ma:internalName="Approve_x0020_Stage">
      <xsd:simpleType>
        <xsd:restriction base="dms:Choice">
          <xsd:enumeration value="Approving"/>
          <xsd:enumeration value="Approved"/>
          <xsd:enumeration value="Rejec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13aef0-e3c2-451b-8a0f-fa27211fa6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4" nillable="true" ma:displayName="_activity" ma:hidden="true" ma:internalName="_activity">
      <xsd:simpleType>
        <xsd:restriction base="dms:Note"/>
      </xsd:simpleType>
    </xsd:element>
    <xsd:element name="MediaServiceObjectDetectorVersions" ma:index="2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SystemTags" ma:index="29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Location" ma:index="3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4e2a90-0a3d-4822-aa79-a49007aaf019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6402bf8a-be4c-4d43-8340-107e775f40e9" ContentTypeId="0x0101" PreviousValue="false"/>
</file>

<file path=customXml/itemProps1.xml><?xml version="1.0" encoding="utf-8"?>
<ds:datastoreItem xmlns:ds="http://schemas.openxmlformats.org/officeDocument/2006/customXml" ds:itemID="{991EA458-30E1-468E-8EA4-84D686755FE0}">
  <ds:schemaRefs>
    <ds:schemaRef ds:uri="http://schemas.microsoft.com/office/2006/metadata/properties"/>
    <ds:schemaRef ds:uri="http://schemas.microsoft.com/sharepoint/v3"/>
    <ds:schemaRef ds:uri="http://purl.org/dc/elements/1.1/"/>
    <ds:schemaRef ds:uri="http://purl.org/dc/terms/"/>
    <ds:schemaRef ds:uri="http://www.w3.org/XML/1998/namespace"/>
    <ds:schemaRef ds:uri="http://purl.org/dc/dcmitype/"/>
    <ds:schemaRef ds:uri="6f7b4a7f-d44a-4f65-a9aa-96ec94e426e4"/>
    <ds:schemaRef ds:uri="http://schemas.microsoft.com/office/2006/documentManagement/types"/>
    <ds:schemaRef ds:uri="584e2a90-0a3d-4822-aa79-a49007aaf019"/>
    <ds:schemaRef ds:uri="http://schemas.microsoft.com/office/infopath/2007/PartnerControls"/>
    <ds:schemaRef ds:uri="http://schemas.openxmlformats.org/package/2006/metadata/core-properties"/>
    <ds:schemaRef ds:uri="ac13aef0-e3c2-451b-8a0f-fa27211fa617"/>
  </ds:schemaRefs>
</ds:datastoreItem>
</file>

<file path=customXml/itemProps2.xml><?xml version="1.0" encoding="utf-8"?>
<ds:datastoreItem xmlns:ds="http://schemas.openxmlformats.org/officeDocument/2006/customXml" ds:itemID="{5E955059-46E3-465B-9227-C6B6F873FC9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9CCEAAE-E1DF-48A3-8ADA-3EA2A7C527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f7b4a7f-d44a-4f65-a9aa-96ec94e426e4"/>
    <ds:schemaRef ds:uri="ac13aef0-e3c2-451b-8a0f-fa27211fa617"/>
    <ds:schemaRef ds:uri="584e2a90-0a3d-4822-aa79-a49007aaf0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AF32BCDD-EF02-4E75-A66D-86DFD9C7C9A9}">
  <ds:schemaRefs>
    <ds:schemaRef ds:uri="Microsoft.SharePoint.Taxonomy.ContentTypeSync"/>
  </ds:schemaRefs>
</ds:datastoreItem>
</file>

<file path=docMetadata/LabelInfo.xml><?xml version="1.0" encoding="utf-8"?>
<clbl:labelList xmlns:clbl="http://schemas.microsoft.com/office/2020/mipLabelMetadata">
  <clbl:label id="{58cf86ee-526f-4536-9daf-d1ee8064d50e}" enabled="1" method="Standard" siteId="{a1a39996-f913-4016-a58a-361c60dec580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9967</TotalTime>
  <Words>408</Words>
  <Application>Microsoft Office PowerPoint</Application>
  <PresentationFormat>Widescreen</PresentationFormat>
  <Paragraphs>95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9" baseType="lpstr">
      <vt:lpstr>Apex New Bold</vt:lpstr>
      <vt:lpstr>Apex New Book</vt:lpstr>
      <vt:lpstr>Apex New Medium</vt:lpstr>
      <vt:lpstr>Apex New Medium Italic</vt:lpstr>
      <vt:lpstr>Arial</vt:lpstr>
      <vt:lpstr>Calibri</vt:lpstr>
      <vt:lpstr>Courier New</vt:lpstr>
      <vt:lpstr>Tahoma</vt:lpstr>
      <vt:lpstr>Tahoma Regular</vt:lpstr>
      <vt:lpstr>1_TEMPLATE MASTER</vt:lpstr>
      <vt:lpstr>31_TEMPLATE MASTER</vt:lpstr>
      <vt:lpstr>32_TEMPLATE MASTER</vt:lpstr>
      <vt:lpstr>3_TEMPLATE MASTER</vt:lpstr>
      <vt:lpstr>think-cell Slide</vt:lpstr>
      <vt:lpstr>PowerPoint Presentation</vt:lpstr>
      <vt:lpstr>Container corridor  Schematic Overview: security hotspots, community risk areas, route diversions</vt:lpstr>
      <vt:lpstr>Purpose of the project </vt:lpstr>
      <vt:lpstr>Evaluation criteria </vt:lpstr>
      <vt:lpstr>PowerPoint Presentation</vt:lpstr>
    </vt:vector>
  </TitlesOfParts>
  <Company>Transn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FR OPCO</dc:title>
  <dc:creator>"Thato Sebalane   Transnet Corporate Centre   Johannesburg"</dc:creator>
  <cp:lastModifiedBy>Lerothodi Moramang     Transnet Freight Rail    JHB</cp:lastModifiedBy>
  <cp:revision>128</cp:revision>
  <dcterms:created xsi:type="dcterms:W3CDTF">2022-06-30T08:54:36Z</dcterms:created>
  <dcterms:modified xsi:type="dcterms:W3CDTF">2025-12-11T12:3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86CADFC83C284AABA02E67EAA9A784</vt:lpwstr>
  </property>
  <property fmtid="{D5CDD505-2E9C-101B-9397-08002B2CF9AE}" pid="3" name="MSIP_Label_58cf86ee-526f-4536-9daf-d1ee8064d50e_Enabled">
    <vt:lpwstr>true</vt:lpwstr>
  </property>
  <property fmtid="{D5CDD505-2E9C-101B-9397-08002B2CF9AE}" pid="4" name="MSIP_Label_58cf86ee-526f-4536-9daf-d1ee8064d50e_SetDate">
    <vt:lpwstr>2024-12-12T10:10:19Z</vt:lpwstr>
  </property>
  <property fmtid="{D5CDD505-2E9C-101B-9397-08002B2CF9AE}" pid="5" name="MSIP_Label_58cf86ee-526f-4536-9daf-d1ee8064d50e_Method">
    <vt:lpwstr>Standard</vt:lpwstr>
  </property>
  <property fmtid="{D5CDD505-2E9C-101B-9397-08002B2CF9AE}" pid="6" name="MSIP_Label_58cf86ee-526f-4536-9daf-d1ee8064d50e_Name">
    <vt:lpwstr>Internal Only Information</vt:lpwstr>
  </property>
  <property fmtid="{D5CDD505-2E9C-101B-9397-08002B2CF9AE}" pid="7" name="MSIP_Label_58cf86ee-526f-4536-9daf-d1ee8064d50e_SiteId">
    <vt:lpwstr>a1a39996-f913-4016-a58a-361c60dec580</vt:lpwstr>
  </property>
  <property fmtid="{D5CDD505-2E9C-101B-9397-08002B2CF9AE}" pid="8" name="MSIP_Label_58cf86ee-526f-4536-9daf-d1ee8064d50e_ActionId">
    <vt:lpwstr>78847783-f4e6-46e3-99dc-0a3a53dbdb78</vt:lpwstr>
  </property>
  <property fmtid="{D5CDD505-2E9C-101B-9397-08002B2CF9AE}" pid="9" name="MSIP_Label_58cf86ee-526f-4536-9daf-d1ee8064d50e_ContentBits">
    <vt:lpwstr>0</vt:lpwstr>
  </property>
  <property fmtid="{D5CDD505-2E9C-101B-9397-08002B2CF9AE}" pid="10" name="MediaServiceImageTags">
    <vt:lpwstr/>
  </property>
  <property fmtid="{D5CDD505-2E9C-101B-9397-08002B2CF9AE}" pid="11" name="MSIP_Label_58cf86ee-526f-4536-9daf-d1ee8064d50e_Tag">
    <vt:lpwstr>10, 3, 0, 2</vt:lpwstr>
  </property>
</Properties>
</file>